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7"/>
  </p:notesMasterIdLst>
  <p:sldIdLst>
    <p:sldId id="287" r:id="rId5"/>
    <p:sldId id="288" r:id="rId6"/>
    <p:sldId id="289" r:id="rId7"/>
    <p:sldId id="2147481190" r:id="rId8"/>
    <p:sldId id="292" r:id="rId9"/>
    <p:sldId id="293" r:id="rId10"/>
    <p:sldId id="295" r:id="rId11"/>
    <p:sldId id="299" r:id="rId12"/>
    <p:sldId id="2147474647" r:id="rId13"/>
    <p:sldId id="2147474649" r:id="rId14"/>
    <p:sldId id="2147474650" r:id="rId15"/>
    <p:sldId id="2147474651" r:id="rId16"/>
    <p:sldId id="2147474652" r:id="rId17"/>
    <p:sldId id="2147474654" r:id="rId18"/>
    <p:sldId id="2147474655" r:id="rId19"/>
    <p:sldId id="2147474656" r:id="rId20"/>
    <p:sldId id="2147474657" r:id="rId21"/>
    <p:sldId id="2147474658" r:id="rId22"/>
    <p:sldId id="2147474660" r:id="rId23"/>
    <p:sldId id="2147481278" r:id="rId24"/>
    <p:sldId id="2147481279" r:id="rId25"/>
    <p:sldId id="2147481276" r:id="rId26"/>
    <p:sldId id="2147481277" r:id="rId27"/>
    <p:sldId id="2147474664" r:id="rId28"/>
    <p:sldId id="2147474665" r:id="rId29"/>
    <p:sldId id="2147481264" r:id="rId30"/>
    <p:sldId id="2147481265" r:id="rId31"/>
    <p:sldId id="2147481267" r:id="rId32"/>
    <p:sldId id="2147481269" r:id="rId33"/>
    <p:sldId id="2147481270" r:id="rId34"/>
    <p:sldId id="2147481271" r:id="rId35"/>
    <p:sldId id="2147474632" r:id="rId36"/>
  </p:sldIdLst>
  <p:sldSz cx="12192000" cy="6858000"/>
  <p:notesSz cx="6797675" cy="9872663"/>
  <p:custDataLst>
    <p:tags r:id="rId38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87"/>
            <p14:sldId id="288"/>
            <p14:sldId id="289"/>
            <p14:sldId id="2147481190"/>
            <p14:sldId id="292"/>
            <p14:sldId id="293"/>
            <p14:sldId id="295"/>
          </p14:sldIdLst>
        </p14:section>
        <p14:section name="Jobs &amp; Segments" id="{5CC4C4A8-6306-4AD3-803E-567528FEFB90}">
          <p14:sldIdLst>
            <p14:sldId id="299"/>
            <p14:sldId id="2147474647"/>
            <p14:sldId id="2147474649"/>
          </p14:sldIdLst>
        </p14:section>
        <p14:section name="Key features and benefits" id="{08291303-A424-41CB-8576-974414D055D5}">
          <p14:sldIdLst>
            <p14:sldId id="2147474650"/>
            <p14:sldId id="2147474651"/>
            <p14:sldId id="2147474652"/>
            <p14:sldId id="2147474654"/>
            <p14:sldId id="2147474655"/>
            <p14:sldId id="2147474656"/>
            <p14:sldId id="2147474657"/>
          </p14:sldIdLst>
        </p14:section>
        <p14:section name="Accessories" id="{9B3353F0-CE91-46F3-A4DA-DA0AF38AE365}">
          <p14:sldIdLst>
            <p14:sldId id="2147474658"/>
            <p14:sldId id="2147474660"/>
            <p14:sldId id="2147481278"/>
            <p14:sldId id="2147481279"/>
            <p14:sldId id="2147481276"/>
            <p14:sldId id="2147481277"/>
            <p14:sldId id="2147474664"/>
            <p14:sldId id="2147474665"/>
          </p14:sldIdLst>
        </p14:section>
        <p14:section name="Technical data" id="{3ABD5D4D-2C0C-449C-A140-446C246F69B2}">
          <p14:sldIdLst>
            <p14:sldId id="2147481264"/>
            <p14:sldId id="2147481265"/>
            <p14:sldId id="2147481267"/>
            <p14:sldId id="2147481269"/>
          </p14:sldIdLst>
        </p14:section>
        <p14:section name="Naming Hierarchy and Pns" id="{62B1CAA5-0D26-47DB-B9FC-3CBFC7F3FAE0}">
          <p14:sldIdLst>
            <p14:sldId id="2147481270"/>
            <p14:sldId id="2147481271"/>
            <p14:sldId id="2147474632"/>
          </p14:sldIdLst>
        </p14:section>
      </p14:sectionLst>
    </p:ext>
    <p:ext uri="{EFAFB233-063F-42B5-8137-9DF3F51BA10A}">
      <p15:sldGuideLst xmlns:p15="http://schemas.microsoft.com/office/powerpoint/2012/main">
        <p15:guide id="1" pos="2976" userDrawn="1">
          <p15:clr>
            <a:srgbClr val="A4A3A4"/>
          </p15:clr>
        </p15:guide>
        <p15:guide id="2" pos="6792" userDrawn="1">
          <p15:clr>
            <a:srgbClr val="A4A3A4"/>
          </p15:clr>
        </p15:guide>
        <p15:guide id="4" orient="horz" pos="1224" userDrawn="1">
          <p15:clr>
            <a:srgbClr val="A4A3A4"/>
          </p15:clr>
        </p15:guide>
        <p15:guide id="5" orient="horz" pos="2736" userDrawn="1">
          <p15:clr>
            <a:srgbClr val="A4A3A4"/>
          </p15:clr>
        </p15:guide>
        <p15:guide id="6" orient="horz" pos="3528" userDrawn="1">
          <p15:clr>
            <a:srgbClr val="A4A3A4"/>
          </p15:clr>
        </p15:guide>
        <p15:guide id="7" orient="horz" pos="14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  <p:cmAuthor id="3" name="eetoan nguyen quoc" initials="enq" lastIdx="2" clrIdx="2">
    <p:extLst>
      <p:ext uri="{19B8F6BF-5375-455C-9EA6-DF929625EA0E}">
        <p15:presenceInfo xmlns:p15="http://schemas.microsoft.com/office/powerpoint/2012/main" userId="68d412884baf018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BBC5"/>
    <a:srgbClr val="8997A4"/>
    <a:srgbClr val="7C878E"/>
    <a:srgbClr val="000000"/>
    <a:srgbClr val="979797"/>
    <a:srgbClr val="4B4F54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03BDA4-DF42-4522-982B-0BF0F159C9B1}" v="101" dt="2024-04-03T20:01:35.7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69" autoAdjust="0"/>
    <p:restoredTop sz="92949" autoAdjust="0"/>
  </p:normalViewPr>
  <p:slideViewPr>
    <p:cSldViewPr snapToGrid="0">
      <p:cViewPr varScale="1">
        <p:scale>
          <a:sx n="85" d="100"/>
          <a:sy n="85" d="100"/>
        </p:scale>
        <p:origin x="816" y="78"/>
      </p:cViewPr>
      <p:guideLst>
        <p:guide pos="2976"/>
        <p:guide pos="6792"/>
        <p:guide orient="horz" pos="1224"/>
        <p:guide orient="horz" pos="2736"/>
        <p:guide orient="horz" pos="3528"/>
        <p:guide orient="horz" pos="14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ntina Bonucchi" userId="a3c72a79-03ca-4054-8650-fe55237bf169" providerId="ADAL" clId="{9B677904-403F-49D6-9072-000213354544}"/>
    <pc:docChg chg="modSld">
      <pc:chgData name="Valentina Bonucchi" userId="a3c72a79-03ca-4054-8650-fe55237bf169" providerId="ADAL" clId="{9B677904-403F-49D6-9072-000213354544}" dt="2024-04-03T19:49:18.536" v="2" actId="1076"/>
      <pc:docMkLst>
        <pc:docMk/>
      </pc:docMkLst>
      <pc:sldChg chg="modSp mod">
        <pc:chgData name="Valentina Bonucchi" userId="a3c72a79-03ca-4054-8650-fe55237bf169" providerId="ADAL" clId="{9B677904-403F-49D6-9072-000213354544}" dt="2024-04-03T19:49:18.536" v="2" actId="1076"/>
        <pc:sldMkLst>
          <pc:docMk/>
          <pc:sldMk cId="987053717" sldId="2147481278"/>
        </pc:sldMkLst>
        <pc:spChg chg="mod">
          <ac:chgData name="Valentina Bonucchi" userId="a3c72a79-03ca-4054-8650-fe55237bf169" providerId="ADAL" clId="{9B677904-403F-49D6-9072-000213354544}" dt="2024-04-03T19:49:01.550" v="0" actId="1076"/>
          <ac:spMkLst>
            <pc:docMk/>
            <pc:sldMk cId="987053717" sldId="2147481278"/>
            <ac:spMk id="61" creationId="{56D2F6B0-0748-26AD-A951-6E1DC56F8C0A}"/>
          </ac:spMkLst>
        </pc:spChg>
        <pc:spChg chg="mod">
          <ac:chgData name="Valentina Bonucchi" userId="a3c72a79-03ca-4054-8650-fe55237bf169" providerId="ADAL" clId="{9B677904-403F-49D6-9072-000213354544}" dt="2024-04-03T19:49:18.536" v="2" actId="1076"/>
          <ac:spMkLst>
            <pc:docMk/>
            <pc:sldMk cId="987053717" sldId="2147481278"/>
            <ac:spMk id="62" creationId="{E1FFE3D2-176A-BC10-009B-7F3A7A568C80}"/>
          </ac:spMkLst>
        </pc:spChg>
        <pc:spChg chg="mod">
          <ac:chgData name="Valentina Bonucchi" userId="a3c72a79-03ca-4054-8650-fe55237bf169" providerId="ADAL" clId="{9B677904-403F-49D6-9072-000213354544}" dt="2024-04-03T19:49:07.257" v="1" actId="1076"/>
          <ac:spMkLst>
            <pc:docMk/>
            <pc:sldMk cId="987053717" sldId="2147481278"/>
            <ac:spMk id="66" creationId="{5FA849B0-AA99-256A-C980-0F57DF10E61A}"/>
          </ac:spMkLst>
        </pc:spChg>
      </pc:sldChg>
    </pc:docChg>
  </pc:docChgLst>
  <pc:docChgLst>
    <pc:chgData name="Valentina Bonucchi" userId="a3c72a79-03ca-4054-8650-fe55237bf169" providerId="ADAL" clId="{FD03BDA4-DF42-4522-982B-0BF0F159C9B1}"/>
    <pc:docChg chg="undo custSel addSld delSld modSld modMainMaster delSection modSection replTag">
      <pc:chgData name="Valentina Bonucchi" userId="a3c72a79-03ca-4054-8650-fe55237bf169" providerId="ADAL" clId="{FD03BDA4-DF42-4522-982B-0BF0F159C9B1}" dt="2024-04-04T08:16:08.546" v="709" actId="47"/>
      <pc:docMkLst>
        <pc:docMk/>
      </pc:docMkLst>
      <pc:sldChg chg="addSp delSp modSp mod">
        <pc:chgData name="Valentina Bonucchi" userId="a3c72a79-03ca-4054-8650-fe55237bf169" providerId="ADAL" clId="{FD03BDA4-DF42-4522-982B-0BF0F159C9B1}" dt="2024-04-04T08:12:56.073" v="705" actId="1076"/>
        <pc:sldMkLst>
          <pc:docMk/>
          <pc:sldMk cId="3537742623" sldId="288"/>
        </pc:sldMkLst>
        <pc:spChg chg="add del mod">
          <ac:chgData name="Valentina Bonucchi" userId="a3c72a79-03ca-4054-8650-fe55237bf169" providerId="ADAL" clId="{FD03BDA4-DF42-4522-982B-0BF0F159C9B1}" dt="2024-04-03T19:57:16.468" v="134" actId="478"/>
          <ac:spMkLst>
            <pc:docMk/>
            <pc:sldMk cId="3537742623" sldId="288"/>
            <ac:spMk id="4" creationId="{11B48982-7605-07A8-0CE2-8F20A51514C3}"/>
          </ac:spMkLst>
        </pc:spChg>
        <pc:spChg chg="mod">
          <ac:chgData name="Valentina Bonucchi" userId="a3c72a79-03ca-4054-8650-fe55237bf169" providerId="ADAL" clId="{FD03BDA4-DF42-4522-982B-0BF0F159C9B1}" dt="2024-04-04T08:12:56.073" v="705" actId="1076"/>
          <ac:spMkLst>
            <pc:docMk/>
            <pc:sldMk cId="3537742623" sldId="288"/>
            <ac:spMk id="45" creationId="{1B408FCE-02A7-8C2F-1826-30ACAE7ECFBE}"/>
          </ac:spMkLst>
        </pc:spChg>
        <pc:spChg chg="del">
          <ac:chgData name="Valentina Bonucchi" userId="a3c72a79-03ca-4054-8650-fe55237bf169" providerId="ADAL" clId="{FD03BDA4-DF42-4522-982B-0BF0F159C9B1}" dt="2024-04-03T19:57:12.252" v="133" actId="478"/>
          <ac:spMkLst>
            <pc:docMk/>
            <pc:sldMk cId="3537742623" sldId="288"/>
            <ac:spMk id="46" creationId="{43C68A9B-12A5-F8C0-D1C5-620A45C09816}"/>
          </ac:spMkLst>
        </pc:spChg>
        <pc:spChg chg="del">
          <ac:chgData name="Valentina Bonucchi" userId="a3c72a79-03ca-4054-8650-fe55237bf169" providerId="ADAL" clId="{FD03BDA4-DF42-4522-982B-0BF0F159C9B1}" dt="2024-04-03T19:57:52.163" v="144" actId="478"/>
          <ac:spMkLst>
            <pc:docMk/>
            <pc:sldMk cId="3537742623" sldId="288"/>
            <ac:spMk id="50" creationId="{2F6318B9-FF45-AC3E-F907-1B5C5FA2C0FF}"/>
          </ac:spMkLst>
        </pc:spChg>
        <pc:spChg chg="mod">
          <ac:chgData name="Valentina Bonucchi" userId="a3c72a79-03ca-4054-8650-fe55237bf169" providerId="ADAL" clId="{FD03BDA4-DF42-4522-982B-0BF0F159C9B1}" dt="2024-04-04T08:12:50.920" v="704" actId="1076"/>
          <ac:spMkLst>
            <pc:docMk/>
            <pc:sldMk cId="3537742623" sldId="288"/>
            <ac:spMk id="51" creationId="{84A2CC73-DF55-0DDB-5929-C3A9B1A1D17C}"/>
          </ac:spMkLst>
        </pc:spChg>
        <pc:spChg chg="del">
          <ac:chgData name="Valentina Bonucchi" userId="a3c72a79-03ca-4054-8650-fe55237bf169" providerId="ADAL" clId="{FD03BDA4-DF42-4522-982B-0BF0F159C9B1}" dt="2024-04-03T19:57:12.252" v="133" actId="478"/>
          <ac:spMkLst>
            <pc:docMk/>
            <pc:sldMk cId="3537742623" sldId="288"/>
            <ac:spMk id="52" creationId="{93B7EA48-27E7-4838-E1E2-8350D149F49C}"/>
          </ac:spMkLst>
        </pc:spChg>
        <pc:spChg chg="del">
          <ac:chgData name="Valentina Bonucchi" userId="a3c72a79-03ca-4054-8650-fe55237bf169" providerId="ADAL" clId="{FD03BDA4-DF42-4522-982B-0BF0F159C9B1}" dt="2024-04-03T19:57:12.252" v="133" actId="478"/>
          <ac:spMkLst>
            <pc:docMk/>
            <pc:sldMk cId="3537742623" sldId="288"/>
            <ac:spMk id="53" creationId="{D14DB622-EED9-F75E-A0DD-01EE89035F07}"/>
          </ac:spMkLst>
        </pc:spChg>
        <pc:spChg chg="mod">
          <ac:chgData name="Valentina Bonucchi" userId="a3c72a79-03ca-4054-8650-fe55237bf169" providerId="ADAL" clId="{FD03BDA4-DF42-4522-982B-0BF0F159C9B1}" dt="2024-04-04T08:12:45.681" v="703" actId="1076"/>
          <ac:spMkLst>
            <pc:docMk/>
            <pc:sldMk cId="3537742623" sldId="288"/>
            <ac:spMk id="54" creationId="{C88D35B3-03C2-DE11-F725-8D9AAB1E94E4}"/>
          </ac:spMkLst>
        </pc:spChg>
        <pc:spChg chg="mod">
          <ac:chgData name="Valentina Bonucchi" userId="a3c72a79-03ca-4054-8650-fe55237bf169" providerId="ADAL" clId="{FD03BDA4-DF42-4522-982B-0BF0F159C9B1}" dt="2024-04-04T08:12:45.681" v="703" actId="1076"/>
          <ac:spMkLst>
            <pc:docMk/>
            <pc:sldMk cId="3537742623" sldId="288"/>
            <ac:spMk id="55" creationId="{E2074507-A909-8FA3-5A48-835338536487}"/>
          </ac:spMkLst>
        </pc:spChg>
        <pc:spChg chg="add del mod">
          <ac:chgData name="Valentina Bonucchi" userId="a3c72a79-03ca-4054-8650-fe55237bf169" providerId="ADAL" clId="{FD03BDA4-DF42-4522-982B-0BF0F159C9B1}" dt="2024-04-04T08:12:35.429" v="702" actId="478"/>
          <ac:spMkLst>
            <pc:docMk/>
            <pc:sldMk cId="3537742623" sldId="288"/>
            <ac:spMk id="56" creationId="{8DFE6840-5327-9DA8-66B9-CBBE3769B912}"/>
          </ac:spMkLst>
        </pc:spChg>
        <pc:spChg chg="mod">
          <ac:chgData name="Valentina Bonucchi" userId="a3c72a79-03ca-4054-8650-fe55237bf169" providerId="ADAL" clId="{FD03BDA4-DF42-4522-982B-0BF0F159C9B1}" dt="2024-04-04T08:12:45.681" v="703" actId="1076"/>
          <ac:spMkLst>
            <pc:docMk/>
            <pc:sldMk cId="3537742623" sldId="288"/>
            <ac:spMk id="57" creationId="{B673E331-4A10-A652-6A9F-69FF35A729B7}"/>
          </ac:spMkLst>
        </pc:spChg>
        <pc:spChg chg="mod">
          <ac:chgData name="Valentina Bonucchi" userId="a3c72a79-03ca-4054-8650-fe55237bf169" providerId="ADAL" clId="{FD03BDA4-DF42-4522-982B-0BF0F159C9B1}" dt="2024-04-04T08:12:45.681" v="703" actId="1076"/>
          <ac:spMkLst>
            <pc:docMk/>
            <pc:sldMk cId="3537742623" sldId="288"/>
            <ac:spMk id="58" creationId="{67986382-D992-D084-E499-4215D868DAC9}"/>
          </ac:spMkLst>
        </pc:spChg>
        <pc:spChg chg="del mod">
          <ac:chgData name="Valentina Bonucchi" userId="a3c72a79-03ca-4054-8650-fe55237bf169" providerId="ADAL" clId="{FD03BDA4-DF42-4522-982B-0BF0F159C9B1}" dt="2024-04-04T08:12:33.074" v="701" actId="478"/>
          <ac:spMkLst>
            <pc:docMk/>
            <pc:sldMk cId="3537742623" sldId="288"/>
            <ac:spMk id="59" creationId="{153C7D43-0575-808C-867B-88421993DF80}"/>
          </ac:spMkLst>
        </pc:spChg>
        <pc:spChg chg="del">
          <ac:chgData name="Valentina Bonucchi" userId="a3c72a79-03ca-4054-8650-fe55237bf169" providerId="ADAL" clId="{FD03BDA4-DF42-4522-982B-0BF0F159C9B1}" dt="2024-04-03T19:57:51.136" v="143" actId="478"/>
          <ac:spMkLst>
            <pc:docMk/>
            <pc:sldMk cId="3537742623" sldId="288"/>
            <ac:spMk id="60" creationId="{DCFBC59E-8C65-AAF9-1F19-444C8874C232}"/>
          </ac:spMkLst>
        </pc:spChg>
        <pc:spChg chg="del mod">
          <ac:chgData name="Valentina Bonucchi" userId="a3c72a79-03ca-4054-8650-fe55237bf169" providerId="ADAL" clId="{FD03BDA4-DF42-4522-982B-0BF0F159C9B1}" dt="2024-04-03T19:57:50.143" v="142" actId="478"/>
          <ac:spMkLst>
            <pc:docMk/>
            <pc:sldMk cId="3537742623" sldId="288"/>
            <ac:spMk id="61" creationId="{CA1A5744-6794-18A6-28A8-2074B0D97DA6}"/>
          </ac:spMkLst>
        </pc:spChg>
      </pc:sldChg>
      <pc:sldChg chg="addSp delSp modSp del mod">
        <pc:chgData name="Valentina Bonucchi" userId="a3c72a79-03ca-4054-8650-fe55237bf169" providerId="ADAL" clId="{FD03BDA4-DF42-4522-982B-0BF0F159C9B1}" dt="2024-04-03T20:05:00.328" v="657" actId="2696"/>
        <pc:sldMkLst>
          <pc:docMk/>
          <pc:sldMk cId="3091245413" sldId="290"/>
        </pc:sldMkLst>
        <pc:spChg chg="add del mod modVis">
          <ac:chgData name="Valentina Bonucchi" userId="a3c72a79-03ca-4054-8650-fe55237bf169" providerId="ADAL" clId="{FD03BDA4-DF42-4522-982B-0BF0F159C9B1}" dt="2024-04-03T20:01:21.527" v="479"/>
          <ac:spMkLst>
            <pc:docMk/>
            <pc:sldMk cId="3091245413" sldId="290"/>
            <ac:spMk id="3" creationId="{6AD58A0C-F126-EF88-4ABF-5635F2EBCB49}"/>
          </ac:spMkLst>
        </pc:spChg>
        <pc:spChg chg="mod">
          <ac:chgData name="Valentina Bonucchi" userId="a3c72a79-03ca-4054-8650-fe55237bf169" providerId="ADAL" clId="{FD03BDA4-DF42-4522-982B-0BF0F159C9B1}" dt="2024-04-03T20:01:35.668" v="598" actId="948"/>
          <ac:spMkLst>
            <pc:docMk/>
            <pc:sldMk cId="3091245413" sldId="290"/>
            <ac:spMk id="6" creationId="{7720E18C-F89A-87BF-0D14-882286CD4FEE}"/>
          </ac:spMkLst>
        </pc:spChg>
        <pc:spChg chg="add del mod modVis">
          <ac:chgData name="Valentina Bonucchi" userId="a3c72a79-03ca-4054-8650-fe55237bf169" providerId="ADAL" clId="{FD03BDA4-DF42-4522-982B-0BF0F159C9B1}" dt="2024-04-03T20:01:22.330" v="509"/>
          <ac:spMkLst>
            <pc:docMk/>
            <pc:sldMk cId="3091245413" sldId="290"/>
            <ac:spMk id="7" creationId="{E23FF59C-69D4-3FB6-4331-D82BC303B750}"/>
          </ac:spMkLst>
        </pc:spChg>
        <pc:spChg chg="mod">
          <ac:chgData name="Valentina Bonucchi" userId="a3c72a79-03ca-4054-8650-fe55237bf169" providerId="ADAL" clId="{FD03BDA4-DF42-4522-982B-0BF0F159C9B1}" dt="2024-04-03T20:01:42.570" v="645" actId="20577"/>
          <ac:spMkLst>
            <pc:docMk/>
            <pc:sldMk cId="3091245413" sldId="290"/>
            <ac:spMk id="8" creationId="{312D3629-65DD-7D20-1FD3-68E54D38EE73}"/>
          </ac:spMkLst>
        </pc:spChg>
        <pc:spChg chg="add del mod modVis">
          <ac:chgData name="Valentina Bonucchi" userId="a3c72a79-03ca-4054-8650-fe55237bf169" providerId="ADAL" clId="{FD03BDA4-DF42-4522-982B-0BF0F159C9B1}" dt="2024-04-03T20:01:32.412" v="552"/>
          <ac:spMkLst>
            <pc:docMk/>
            <pc:sldMk cId="3091245413" sldId="290"/>
            <ac:spMk id="9" creationId="{A3F60284-6306-27A1-7366-7D3989B5C8F6}"/>
          </ac:spMkLst>
        </pc:spChg>
        <pc:spChg chg="add del mod modVis">
          <ac:chgData name="Valentina Bonucchi" userId="a3c72a79-03ca-4054-8650-fe55237bf169" providerId="ADAL" clId="{FD03BDA4-DF42-4522-982B-0BF0F159C9B1}" dt="2024-04-03T20:01:35.093" v="594"/>
          <ac:spMkLst>
            <pc:docMk/>
            <pc:sldMk cId="3091245413" sldId="290"/>
            <ac:spMk id="10" creationId="{0B029238-5676-8CEE-965F-581F53E5356F}"/>
          </ac:spMkLst>
        </pc:spChg>
        <pc:spChg chg="add del mod modVis">
          <ac:chgData name="Valentina Bonucchi" userId="a3c72a79-03ca-4054-8650-fe55237bf169" providerId="ADAL" clId="{FD03BDA4-DF42-4522-982B-0BF0F159C9B1}" dt="2024-04-03T20:01:35.715" v="622"/>
          <ac:spMkLst>
            <pc:docMk/>
            <pc:sldMk cId="3091245413" sldId="290"/>
            <ac:spMk id="11" creationId="{63A33B94-BF67-5D91-F02C-18FED6F018CC}"/>
          </ac:spMkLst>
        </pc:spChg>
        <pc:spChg chg="add del mod">
          <ac:chgData name="Valentina Bonucchi" userId="a3c72a79-03ca-4054-8650-fe55237bf169" providerId="ADAL" clId="{FD03BDA4-DF42-4522-982B-0BF0F159C9B1}" dt="2024-04-03T20:02:45.834" v="651" actId="478"/>
          <ac:spMkLst>
            <pc:docMk/>
            <pc:sldMk cId="3091245413" sldId="290"/>
            <ac:spMk id="13" creationId="{AA012FDC-ED44-53C4-2135-A0E15BFE3157}"/>
          </ac:spMkLst>
        </pc:spChg>
        <pc:spChg chg="del">
          <ac:chgData name="Valentina Bonucchi" userId="a3c72a79-03ca-4054-8650-fe55237bf169" providerId="ADAL" clId="{FD03BDA4-DF42-4522-982B-0BF0F159C9B1}" dt="2024-04-03T20:01:49.324" v="646" actId="478"/>
          <ac:spMkLst>
            <pc:docMk/>
            <pc:sldMk cId="3091245413" sldId="290"/>
            <ac:spMk id="25" creationId="{D47A9C56-430B-697A-5F2D-D0CFC857BA80}"/>
          </ac:spMkLst>
        </pc:spChg>
        <pc:spChg chg="mod">
          <ac:chgData name="Valentina Bonucchi" userId="a3c72a79-03ca-4054-8650-fe55237bf169" providerId="ADAL" clId="{FD03BDA4-DF42-4522-982B-0BF0F159C9B1}" dt="2024-04-03T20:03:24.687" v="655" actId="1076"/>
          <ac:spMkLst>
            <pc:docMk/>
            <pc:sldMk cId="3091245413" sldId="290"/>
            <ac:spMk id="28" creationId="{C1D935FF-3E66-50C2-3DF1-211BED70F63D}"/>
          </ac:spMkLst>
        </pc:spChg>
        <pc:spChg chg="mod">
          <ac:chgData name="Valentina Bonucchi" userId="a3c72a79-03ca-4054-8650-fe55237bf169" providerId="ADAL" clId="{FD03BDA4-DF42-4522-982B-0BF0F159C9B1}" dt="2024-04-03T20:02:59.207" v="654" actId="1076"/>
          <ac:spMkLst>
            <pc:docMk/>
            <pc:sldMk cId="3091245413" sldId="290"/>
            <ac:spMk id="40" creationId="{39AEE2D6-BDF5-644F-F8E0-526CFAB1F3B4}"/>
          </ac:spMkLst>
        </pc:spChg>
        <pc:spChg chg="mod">
          <ac:chgData name="Valentina Bonucchi" userId="a3c72a79-03ca-4054-8650-fe55237bf169" providerId="ADAL" clId="{FD03BDA4-DF42-4522-982B-0BF0F159C9B1}" dt="2024-04-03T20:03:24.687" v="655" actId="1076"/>
          <ac:spMkLst>
            <pc:docMk/>
            <pc:sldMk cId="3091245413" sldId="290"/>
            <ac:spMk id="41" creationId="{6624B5B1-D74B-CFA9-4AE2-E414D58D48CF}"/>
          </ac:spMkLst>
        </pc:spChg>
        <pc:spChg chg="mod">
          <ac:chgData name="Valentina Bonucchi" userId="a3c72a79-03ca-4054-8650-fe55237bf169" providerId="ADAL" clId="{FD03BDA4-DF42-4522-982B-0BF0F159C9B1}" dt="2024-04-03T20:03:24.687" v="655" actId="1076"/>
          <ac:spMkLst>
            <pc:docMk/>
            <pc:sldMk cId="3091245413" sldId="290"/>
            <ac:spMk id="42" creationId="{E8A7C741-C21F-D460-3E13-06EA01D4BB38}"/>
          </ac:spMkLst>
        </pc:spChg>
        <pc:spChg chg="mod">
          <ac:chgData name="Valentina Bonucchi" userId="a3c72a79-03ca-4054-8650-fe55237bf169" providerId="ADAL" clId="{FD03BDA4-DF42-4522-982B-0BF0F159C9B1}" dt="2024-04-03T20:03:24.687" v="655" actId="1076"/>
          <ac:spMkLst>
            <pc:docMk/>
            <pc:sldMk cId="3091245413" sldId="290"/>
            <ac:spMk id="43" creationId="{70B37E0E-3E9E-65B8-6CBD-7A5B5E1AC4E1}"/>
          </ac:spMkLst>
        </pc:spChg>
        <pc:spChg chg="mod">
          <ac:chgData name="Valentina Bonucchi" userId="a3c72a79-03ca-4054-8650-fe55237bf169" providerId="ADAL" clId="{FD03BDA4-DF42-4522-982B-0BF0F159C9B1}" dt="2024-04-03T20:03:24.687" v="655" actId="1076"/>
          <ac:spMkLst>
            <pc:docMk/>
            <pc:sldMk cId="3091245413" sldId="290"/>
            <ac:spMk id="44" creationId="{343DA12A-6043-29C5-8FE7-14C06442407D}"/>
          </ac:spMkLst>
        </pc:spChg>
        <pc:graphicFrameChg chg="add mod ord modVis replST">
          <ac:chgData name="Valentina Bonucchi" userId="a3c72a79-03ca-4054-8650-fe55237bf169" providerId="ADAL" clId="{FD03BDA4-DF42-4522-982B-0BF0F159C9B1}" dt="2024-04-03T20:01:35.718" v="624"/>
          <ac:graphicFrameMkLst>
            <pc:docMk/>
            <pc:sldMk cId="3091245413" sldId="290"/>
            <ac:graphicFrameMk id="2" creationId="{CE9EA7A4-83F4-0EE9-6B4D-582F0961C7AF}"/>
          </ac:graphicFrameMkLst>
        </pc:graphicFrameChg>
      </pc:sldChg>
      <pc:sldChg chg="modSp mod">
        <pc:chgData name="Valentina Bonucchi" userId="a3c72a79-03ca-4054-8650-fe55237bf169" providerId="ADAL" clId="{FD03BDA4-DF42-4522-982B-0BF0F159C9B1}" dt="2024-04-03T20:09:51.532" v="700" actId="20577"/>
        <pc:sldMkLst>
          <pc:docMk/>
          <pc:sldMk cId="1274695021" sldId="292"/>
        </pc:sldMkLst>
        <pc:spChg chg="mod">
          <ac:chgData name="Valentina Bonucchi" userId="a3c72a79-03ca-4054-8650-fe55237bf169" providerId="ADAL" clId="{FD03BDA4-DF42-4522-982B-0BF0F159C9B1}" dt="2024-04-03T20:09:51.532" v="700" actId="20577"/>
          <ac:spMkLst>
            <pc:docMk/>
            <pc:sldMk cId="1274695021" sldId="292"/>
            <ac:spMk id="9" creationId="{B0BA59D5-BE35-2F30-8D0F-195889EA0555}"/>
          </ac:spMkLst>
        </pc:spChg>
      </pc:sldChg>
      <pc:sldChg chg="del">
        <pc:chgData name="Valentina Bonucchi" userId="a3c72a79-03ca-4054-8650-fe55237bf169" providerId="ADAL" clId="{FD03BDA4-DF42-4522-982B-0BF0F159C9B1}" dt="2024-04-03T20:03:45.839" v="656" actId="47"/>
        <pc:sldMkLst>
          <pc:docMk/>
          <pc:sldMk cId="1476638524" sldId="297"/>
        </pc:sldMkLst>
      </pc:sldChg>
      <pc:sldChg chg="del">
        <pc:chgData name="Valentina Bonucchi" userId="a3c72a79-03ca-4054-8650-fe55237bf169" providerId="ADAL" clId="{FD03BDA4-DF42-4522-982B-0BF0F159C9B1}" dt="2024-04-03T20:03:45.839" v="656" actId="47"/>
        <pc:sldMkLst>
          <pc:docMk/>
          <pc:sldMk cId="990569035" sldId="298"/>
        </pc:sldMkLst>
      </pc:sldChg>
      <pc:sldChg chg="addSp modSp del mod">
        <pc:chgData name="Valentina Bonucchi" userId="a3c72a79-03ca-4054-8650-fe55237bf169" providerId="ADAL" clId="{FD03BDA4-DF42-4522-982B-0BF0F159C9B1}" dt="2024-04-04T08:13:04.568" v="706" actId="47"/>
        <pc:sldMkLst>
          <pc:docMk/>
          <pc:sldMk cId="563199597" sldId="2147474653"/>
        </pc:sldMkLst>
        <pc:spChg chg="mod">
          <ac:chgData name="Valentina Bonucchi" userId="a3c72a79-03ca-4054-8650-fe55237bf169" providerId="ADAL" clId="{FD03BDA4-DF42-4522-982B-0BF0F159C9B1}" dt="2024-04-03T19:56:47.929" v="128" actId="948"/>
          <ac:spMkLst>
            <pc:docMk/>
            <pc:sldMk cId="563199597" sldId="2147474653"/>
            <ac:spMk id="18" creationId="{52AF5DF3-25A7-3E17-080C-DADE8BFC6394}"/>
          </ac:spMkLst>
        </pc:spChg>
        <pc:graphicFrameChg chg="add mod ord modVis replST">
          <ac:chgData name="Valentina Bonucchi" userId="a3c72a79-03ca-4054-8650-fe55237bf169" providerId="ADAL" clId="{FD03BDA4-DF42-4522-982B-0BF0F159C9B1}" dt="2024-04-03T19:56:47.946" v="132"/>
          <ac:graphicFrameMkLst>
            <pc:docMk/>
            <pc:sldMk cId="563199597" sldId="2147474653"/>
            <ac:graphicFrameMk id="2" creationId="{971A8066-1694-04F5-5136-429AC8F64B20}"/>
          </ac:graphicFrameMkLst>
        </pc:graphicFrameChg>
      </pc:sldChg>
      <pc:sldChg chg="delSp mod">
        <pc:chgData name="Valentina Bonucchi" userId="a3c72a79-03ca-4054-8650-fe55237bf169" providerId="ADAL" clId="{FD03BDA4-DF42-4522-982B-0BF0F159C9B1}" dt="2024-04-03T19:53:44.068" v="1" actId="478"/>
        <pc:sldMkLst>
          <pc:docMk/>
          <pc:sldMk cId="3507259827" sldId="2147474654"/>
        </pc:sldMkLst>
        <pc:spChg chg="del">
          <ac:chgData name="Valentina Bonucchi" userId="a3c72a79-03ca-4054-8650-fe55237bf169" providerId="ADAL" clId="{FD03BDA4-DF42-4522-982B-0BF0F159C9B1}" dt="2024-04-03T19:53:44.068" v="1" actId="478"/>
          <ac:spMkLst>
            <pc:docMk/>
            <pc:sldMk cId="3507259827" sldId="2147474654"/>
            <ac:spMk id="9" creationId="{0F3206B8-307B-BD95-F355-BCC23363520B}"/>
          </ac:spMkLst>
        </pc:spChg>
        <pc:spChg chg="del">
          <ac:chgData name="Valentina Bonucchi" userId="a3c72a79-03ca-4054-8650-fe55237bf169" providerId="ADAL" clId="{FD03BDA4-DF42-4522-982B-0BF0F159C9B1}" dt="2024-04-03T19:53:42.574" v="0" actId="478"/>
          <ac:spMkLst>
            <pc:docMk/>
            <pc:sldMk cId="3507259827" sldId="2147474654"/>
            <ac:spMk id="10" creationId="{35A840F4-9186-EFB4-F23E-B2E3B78D02BC}"/>
          </ac:spMkLst>
        </pc:spChg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2953850857" sldId="2147474666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1320067382" sldId="2147474677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884167119" sldId="2147474678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1101863113" sldId="2147474679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1568412910" sldId="2147474680"/>
        </pc:sldMkLst>
      </pc:sldChg>
      <pc:sldChg chg="addSp delSp modSp add mod">
        <pc:chgData name="Valentina Bonucchi" userId="a3c72a79-03ca-4054-8650-fe55237bf169" providerId="ADAL" clId="{FD03BDA4-DF42-4522-982B-0BF0F159C9B1}" dt="2024-04-03T20:02:09.411" v="648" actId="1076"/>
        <pc:sldMkLst>
          <pc:docMk/>
          <pc:sldMk cId="3626077949" sldId="2147481190"/>
        </pc:sldMkLst>
        <pc:spChg chg="mod">
          <ac:chgData name="Valentina Bonucchi" userId="a3c72a79-03ca-4054-8650-fe55237bf169" providerId="ADAL" clId="{FD03BDA4-DF42-4522-982B-0BF0F159C9B1}" dt="2024-04-03T20:00:06.665" v="364" actId="948"/>
          <ac:spMkLst>
            <pc:docMk/>
            <pc:sldMk cId="3626077949" sldId="2147481190"/>
            <ac:spMk id="4" creationId="{18E1B92A-2528-2060-ABBC-56103A5773B5}"/>
          </ac:spMkLst>
        </pc:spChg>
        <pc:spChg chg="mod">
          <ac:chgData name="Valentina Bonucchi" userId="a3c72a79-03ca-4054-8650-fe55237bf169" providerId="ADAL" clId="{FD03BDA4-DF42-4522-982B-0BF0F159C9B1}" dt="2024-04-03T20:02:09.411" v="648" actId="1076"/>
          <ac:spMkLst>
            <pc:docMk/>
            <pc:sldMk cId="3626077949" sldId="2147481190"/>
            <ac:spMk id="6" creationId="{2D3DA1A8-20DE-AB15-429A-044D292DF492}"/>
          </ac:spMkLst>
        </pc:spChg>
        <pc:spChg chg="add del mod modVis">
          <ac:chgData name="Valentina Bonucchi" userId="a3c72a79-03ca-4054-8650-fe55237bf169" providerId="ADAL" clId="{FD03BDA4-DF42-4522-982B-0BF0F159C9B1}" dt="2024-04-03T19:59:55.201" v="188"/>
          <ac:spMkLst>
            <pc:docMk/>
            <pc:sldMk cId="3626077949" sldId="2147481190"/>
            <ac:spMk id="8" creationId="{567E12B2-1554-4DCA-6ADF-A5AFFF72671D}"/>
          </ac:spMkLst>
        </pc:spChg>
        <pc:spChg chg="add del mod modVis">
          <ac:chgData name="Valentina Bonucchi" userId="a3c72a79-03ca-4054-8650-fe55237bf169" providerId="ADAL" clId="{FD03BDA4-DF42-4522-982B-0BF0F159C9B1}" dt="2024-04-03T19:59:56.267" v="232"/>
          <ac:spMkLst>
            <pc:docMk/>
            <pc:sldMk cId="3626077949" sldId="2147481190"/>
            <ac:spMk id="11" creationId="{D89A1C92-DA19-6805-9148-42F405D7FD1B}"/>
          </ac:spMkLst>
        </pc:spChg>
        <pc:spChg chg="add del mod modVis">
          <ac:chgData name="Valentina Bonucchi" userId="a3c72a79-03ca-4054-8650-fe55237bf169" providerId="ADAL" clId="{FD03BDA4-DF42-4522-982B-0BF0F159C9B1}" dt="2024-04-03T19:59:58.235" v="260"/>
          <ac:spMkLst>
            <pc:docMk/>
            <pc:sldMk cId="3626077949" sldId="2147481190"/>
            <ac:spMk id="12" creationId="{45383530-50B3-37B4-9D24-6E301C8A7D03}"/>
          </ac:spMkLst>
        </pc:spChg>
        <pc:spChg chg="add del mod modVis">
          <ac:chgData name="Valentina Bonucchi" userId="a3c72a79-03ca-4054-8650-fe55237bf169" providerId="ADAL" clId="{FD03BDA4-DF42-4522-982B-0BF0F159C9B1}" dt="2024-04-03T20:00:00.608" v="299"/>
          <ac:spMkLst>
            <pc:docMk/>
            <pc:sldMk cId="3626077949" sldId="2147481190"/>
            <ac:spMk id="13" creationId="{4489FE08-563C-CF20-4FE0-4AE54A99DBC2}"/>
          </ac:spMkLst>
        </pc:spChg>
        <pc:spChg chg="add del mod modVis">
          <ac:chgData name="Valentina Bonucchi" userId="a3c72a79-03ca-4054-8650-fe55237bf169" providerId="ADAL" clId="{FD03BDA4-DF42-4522-982B-0BF0F159C9B1}" dt="2024-04-03T20:00:02.029" v="332"/>
          <ac:spMkLst>
            <pc:docMk/>
            <pc:sldMk cId="3626077949" sldId="2147481190"/>
            <ac:spMk id="14" creationId="{A623D065-D187-E553-8D02-A9D299D89270}"/>
          </ac:spMkLst>
        </pc:spChg>
        <pc:spChg chg="add del mod modVis">
          <ac:chgData name="Valentina Bonucchi" userId="a3c72a79-03ca-4054-8650-fe55237bf169" providerId="ADAL" clId="{FD03BDA4-DF42-4522-982B-0BF0F159C9B1}" dt="2024-04-03T20:00:04.890" v="360"/>
          <ac:spMkLst>
            <pc:docMk/>
            <pc:sldMk cId="3626077949" sldId="2147481190"/>
            <ac:spMk id="15" creationId="{E4C7A371-4A98-BE7A-7863-58B66224206F}"/>
          </ac:spMkLst>
        </pc:spChg>
        <pc:spChg chg="add del mod modVis">
          <ac:chgData name="Valentina Bonucchi" userId="a3c72a79-03ca-4054-8650-fe55237bf169" providerId="ADAL" clId="{FD03BDA4-DF42-4522-982B-0BF0F159C9B1}" dt="2024-04-03T20:00:06.697" v="388"/>
          <ac:spMkLst>
            <pc:docMk/>
            <pc:sldMk cId="3626077949" sldId="2147481190"/>
            <ac:spMk id="16" creationId="{1CF53EC0-746A-B239-1CFD-AEB8ADB3FF0A}"/>
          </ac:spMkLst>
        </pc:spChg>
        <pc:graphicFrameChg chg="add mod ord modVis replST">
          <ac:chgData name="Valentina Bonucchi" userId="a3c72a79-03ca-4054-8650-fe55237bf169" providerId="ADAL" clId="{FD03BDA4-DF42-4522-982B-0BF0F159C9B1}" dt="2024-04-03T20:00:06.700" v="390"/>
          <ac:graphicFrameMkLst>
            <pc:docMk/>
            <pc:sldMk cId="3626077949" sldId="2147481190"/>
            <ac:graphicFrameMk id="10" creationId="{D40A2813-EE29-7AB1-1382-F623A9ABE377}"/>
          </ac:graphicFrameMkLst>
        </pc:graphicFrameChg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3063491318" sldId="2147481206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474486061" sldId="2147481254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596985059" sldId="2147481255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3080610839" sldId="2147481256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3128162973" sldId="2147481257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3356262298" sldId="2147481258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980302919" sldId="2147481259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1255126518" sldId="2147481260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1624995698" sldId="2147481261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3902733176" sldId="2147481262"/>
        </pc:sldMkLst>
      </pc:sldChg>
      <pc:sldChg chg="del">
        <pc:chgData name="Valentina Bonucchi" userId="a3c72a79-03ca-4054-8650-fe55237bf169" providerId="ADAL" clId="{FD03BDA4-DF42-4522-982B-0BF0F159C9B1}" dt="2024-04-03T19:55:41.757" v="19" actId="47"/>
        <pc:sldMkLst>
          <pc:docMk/>
          <pc:sldMk cId="286770836" sldId="2147481263"/>
        </pc:sldMkLst>
      </pc:sldChg>
      <pc:sldChg chg="addSp modSp mod">
        <pc:chgData name="Valentina Bonucchi" userId="a3c72a79-03ca-4054-8650-fe55237bf169" providerId="ADAL" clId="{FD03BDA4-DF42-4522-982B-0BF0F159C9B1}" dt="2024-04-03T19:56:06.597" v="71"/>
        <pc:sldMkLst>
          <pc:docMk/>
          <pc:sldMk cId="50038586" sldId="2147481264"/>
        </pc:sldMkLst>
        <pc:spChg chg="mod">
          <ac:chgData name="Valentina Bonucchi" userId="a3c72a79-03ca-4054-8650-fe55237bf169" providerId="ADAL" clId="{FD03BDA4-DF42-4522-982B-0BF0F159C9B1}" dt="2024-04-03T19:56:06.586" v="67" actId="948"/>
          <ac:spMkLst>
            <pc:docMk/>
            <pc:sldMk cId="50038586" sldId="2147481264"/>
            <ac:spMk id="7" creationId="{5A93757B-6F32-1E18-BA3F-06D79531AA29}"/>
          </ac:spMkLst>
        </pc:spChg>
        <pc:graphicFrameChg chg="add mod ord modVis replST">
          <ac:chgData name="Valentina Bonucchi" userId="a3c72a79-03ca-4054-8650-fe55237bf169" providerId="ADAL" clId="{FD03BDA4-DF42-4522-982B-0BF0F159C9B1}" dt="2024-04-03T19:56:06.597" v="71"/>
          <ac:graphicFrameMkLst>
            <pc:docMk/>
            <pc:sldMk cId="50038586" sldId="2147481264"/>
            <ac:graphicFrameMk id="2" creationId="{CAC58779-A0E0-17B0-F3C1-16DC0D15B1F4}"/>
          </ac:graphicFrameMkLst>
        </pc:graphicFrameChg>
      </pc:sldChg>
      <pc:sldChg chg="addSp modSp mod">
        <pc:chgData name="Valentina Bonucchi" userId="a3c72a79-03ca-4054-8650-fe55237bf169" providerId="ADAL" clId="{FD03BDA4-DF42-4522-982B-0BF0F159C9B1}" dt="2024-04-03T19:56:25.364" v="106"/>
        <pc:sldMkLst>
          <pc:docMk/>
          <pc:sldMk cId="2564128595" sldId="2147481270"/>
        </pc:sldMkLst>
        <pc:spChg chg="mod">
          <ac:chgData name="Valentina Bonucchi" userId="a3c72a79-03ca-4054-8650-fe55237bf169" providerId="ADAL" clId="{FD03BDA4-DF42-4522-982B-0BF0F159C9B1}" dt="2024-04-03T19:56:25.348" v="102" actId="948"/>
          <ac:spMkLst>
            <pc:docMk/>
            <pc:sldMk cId="2564128595" sldId="2147481270"/>
            <ac:spMk id="7" creationId="{5A93757B-6F32-1E18-BA3F-06D79531AA29}"/>
          </ac:spMkLst>
        </pc:spChg>
        <pc:graphicFrameChg chg="add mod ord modVis replST">
          <ac:chgData name="Valentina Bonucchi" userId="a3c72a79-03ca-4054-8650-fe55237bf169" providerId="ADAL" clId="{FD03BDA4-DF42-4522-982B-0BF0F159C9B1}" dt="2024-04-03T19:56:25.364" v="106"/>
          <ac:graphicFrameMkLst>
            <pc:docMk/>
            <pc:sldMk cId="2564128595" sldId="2147481270"/>
            <ac:graphicFrameMk id="2" creationId="{B50AA764-B6AB-CC16-EEB6-446E97337A48}"/>
          </ac:graphicFrameMkLst>
        </pc:graphicFrameChg>
      </pc:sldChg>
      <pc:sldChg chg="modSp del mod">
        <pc:chgData name="Valentina Bonucchi" userId="a3c72a79-03ca-4054-8650-fe55237bf169" providerId="ADAL" clId="{FD03BDA4-DF42-4522-982B-0BF0F159C9B1}" dt="2024-04-04T08:13:04.568" v="706" actId="47"/>
        <pc:sldMkLst>
          <pc:docMk/>
          <pc:sldMk cId="41326209" sldId="2147481273"/>
        </pc:sldMkLst>
        <pc:spChg chg="mod">
          <ac:chgData name="Valentina Bonucchi" userId="a3c72a79-03ca-4054-8650-fe55237bf169" providerId="ADAL" clId="{FD03BDA4-DF42-4522-982B-0BF0F159C9B1}" dt="2024-04-03T19:56:37.835" v="107" actId="20577"/>
          <ac:spMkLst>
            <pc:docMk/>
            <pc:sldMk cId="41326209" sldId="2147481273"/>
            <ac:spMk id="3" creationId="{B58D648C-95A1-4947-8A33-91FC94587F2E}"/>
          </ac:spMkLst>
        </pc:spChg>
      </pc:sldChg>
      <pc:sldChg chg="delSp mod">
        <pc:chgData name="Valentina Bonucchi" userId="a3c72a79-03ca-4054-8650-fe55237bf169" providerId="ADAL" clId="{FD03BDA4-DF42-4522-982B-0BF0F159C9B1}" dt="2024-04-03T19:54:35.767" v="12" actId="478"/>
        <pc:sldMkLst>
          <pc:docMk/>
          <pc:sldMk cId="210219259" sldId="2147481276"/>
        </pc:sldMkLst>
        <pc:spChg chg="del">
          <ac:chgData name="Valentina Bonucchi" userId="a3c72a79-03ca-4054-8650-fe55237bf169" providerId="ADAL" clId="{FD03BDA4-DF42-4522-982B-0BF0F159C9B1}" dt="2024-04-03T19:54:12.609" v="2" actId="478"/>
          <ac:spMkLst>
            <pc:docMk/>
            <pc:sldMk cId="210219259" sldId="2147481276"/>
            <ac:spMk id="2" creationId="{7DCD2C31-FBEF-1309-D87E-3786363BFE91}"/>
          </ac:spMkLst>
        </pc:spChg>
        <pc:spChg chg="del">
          <ac:chgData name="Valentina Bonucchi" userId="a3c72a79-03ca-4054-8650-fe55237bf169" providerId="ADAL" clId="{FD03BDA4-DF42-4522-982B-0BF0F159C9B1}" dt="2024-04-03T19:54:15.408" v="3" actId="478"/>
          <ac:spMkLst>
            <pc:docMk/>
            <pc:sldMk cId="210219259" sldId="2147481276"/>
            <ac:spMk id="4" creationId="{57261914-0E5D-A20B-944E-572C18DC9A42}"/>
          </ac:spMkLst>
        </pc:spChg>
        <pc:spChg chg="del">
          <ac:chgData name="Valentina Bonucchi" userId="a3c72a79-03ca-4054-8650-fe55237bf169" providerId="ADAL" clId="{FD03BDA4-DF42-4522-982B-0BF0F159C9B1}" dt="2024-04-03T19:54:20.014" v="5" actId="478"/>
          <ac:spMkLst>
            <pc:docMk/>
            <pc:sldMk cId="210219259" sldId="2147481276"/>
            <ac:spMk id="5" creationId="{DBBAB44A-89AB-72DE-5D02-6DE3894B7553}"/>
          </ac:spMkLst>
        </pc:spChg>
        <pc:spChg chg="del">
          <ac:chgData name="Valentina Bonucchi" userId="a3c72a79-03ca-4054-8650-fe55237bf169" providerId="ADAL" clId="{FD03BDA4-DF42-4522-982B-0BF0F159C9B1}" dt="2024-04-03T19:54:25.068" v="7" actId="478"/>
          <ac:spMkLst>
            <pc:docMk/>
            <pc:sldMk cId="210219259" sldId="2147481276"/>
            <ac:spMk id="9" creationId="{EA39DE81-9A24-5E92-17F4-B8D01CB74CA8}"/>
          </ac:spMkLst>
        </pc:spChg>
        <pc:spChg chg="del">
          <ac:chgData name="Valentina Bonucchi" userId="a3c72a79-03ca-4054-8650-fe55237bf169" providerId="ADAL" clId="{FD03BDA4-DF42-4522-982B-0BF0F159C9B1}" dt="2024-04-03T19:54:26.767" v="8" actId="478"/>
          <ac:spMkLst>
            <pc:docMk/>
            <pc:sldMk cId="210219259" sldId="2147481276"/>
            <ac:spMk id="17" creationId="{6AA3C1B5-C77F-71A9-B9EF-A0C4D219C7FF}"/>
          </ac:spMkLst>
        </pc:spChg>
        <pc:spChg chg="del">
          <ac:chgData name="Valentina Bonucchi" userId="a3c72a79-03ca-4054-8650-fe55237bf169" providerId="ADAL" clId="{FD03BDA4-DF42-4522-982B-0BF0F159C9B1}" dt="2024-04-03T19:54:30.901" v="10" actId="478"/>
          <ac:spMkLst>
            <pc:docMk/>
            <pc:sldMk cId="210219259" sldId="2147481276"/>
            <ac:spMk id="18" creationId="{A90F0892-4A8A-AA7F-FEAE-0D6F00D578F6}"/>
          </ac:spMkLst>
        </pc:spChg>
        <pc:spChg chg="del">
          <ac:chgData name="Valentina Bonucchi" userId="a3c72a79-03ca-4054-8650-fe55237bf169" providerId="ADAL" clId="{FD03BDA4-DF42-4522-982B-0BF0F159C9B1}" dt="2024-04-03T19:54:35.767" v="12" actId="478"/>
          <ac:spMkLst>
            <pc:docMk/>
            <pc:sldMk cId="210219259" sldId="2147481276"/>
            <ac:spMk id="22" creationId="{78851DD6-80EF-D13F-7D4A-8E6BF8828479}"/>
          </ac:spMkLst>
        </pc:spChg>
        <pc:spChg chg="del">
          <ac:chgData name="Valentina Bonucchi" userId="a3c72a79-03ca-4054-8650-fe55237bf169" providerId="ADAL" clId="{FD03BDA4-DF42-4522-982B-0BF0F159C9B1}" dt="2024-04-03T19:54:18.232" v="4" actId="478"/>
          <ac:spMkLst>
            <pc:docMk/>
            <pc:sldMk cId="210219259" sldId="2147481276"/>
            <ac:spMk id="23" creationId="{85DBEB72-8E21-67FF-C537-A2BFE6C0CE81}"/>
          </ac:spMkLst>
        </pc:spChg>
        <pc:spChg chg="del">
          <ac:chgData name="Valentina Bonucchi" userId="a3c72a79-03ca-4054-8650-fe55237bf169" providerId="ADAL" clId="{FD03BDA4-DF42-4522-982B-0BF0F159C9B1}" dt="2024-04-03T19:54:23.666" v="6" actId="478"/>
          <ac:spMkLst>
            <pc:docMk/>
            <pc:sldMk cId="210219259" sldId="2147481276"/>
            <ac:spMk id="24" creationId="{2D5BC374-6735-7036-9EBA-660B74D9D2A6}"/>
          </ac:spMkLst>
        </pc:spChg>
        <pc:spChg chg="del">
          <ac:chgData name="Valentina Bonucchi" userId="a3c72a79-03ca-4054-8650-fe55237bf169" providerId="ADAL" clId="{FD03BDA4-DF42-4522-982B-0BF0F159C9B1}" dt="2024-04-03T19:54:29.358" v="9" actId="478"/>
          <ac:spMkLst>
            <pc:docMk/>
            <pc:sldMk cId="210219259" sldId="2147481276"/>
            <ac:spMk id="25" creationId="{72C223AC-5308-A3AF-2128-7E4625BA4453}"/>
          </ac:spMkLst>
        </pc:spChg>
        <pc:spChg chg="del">
          <ac:chgData name="Valentina Bonucchi" userId="a3c72a79-03ca-4054-8650-fe55237bf169" providerId="ADAL" clId="{FD03BDA4-DF42-4522-982B-0BF0F159C9B1}" dt="2024-04-03T19:54:33.024" v="11" actId="478"/>
          <ac:spMkLst>
            <pc:docMk/>
            <pc:sldMk cId="210219259" sldId="2147481276"/>
            <ac:spMk id="26" creationId="{84A61163-9E22-2666-78DB-C62DB41DEC39}"/>
          </ac:spMkLst>
        </pc:spChg>
      </pc:sldChg>
      <pc:sldChg chg="addSp delSp mod">
        <pc:chgData name="Valentina Bonucchi" userId="a3c72a79-03ca-4054-8650-fe55237bf169" providerId="ADAL" clId="{FD03BDA4-DF42-4522-982B-0BF0F159C9B1}" dt="2024-04-03T19:55:22.666" v="18" actId="478"/>
        <pc:sldMkLst>
          <pc:docMk/>
          <pc:sldMk cId="2112464470" sldId="2147481277"/>
        </pc:sldMkLst>
        <pc:spChg chg="add del">
          <ac:chgData name="Valentina Bonucchi" userId="a3c72a79-03ca-4054-8650-fe55237bf169" providerId="ADAL" clId="{FD03BDA4-DF42-4522-982B-0BF0F159C9B1}" dt="2024-04-03T19:55:15.074" v="17" actId="478"/>
          <ac:spMkLst>
            <pc:docMk/>
            <pc:sldMk cId="2112464470" sldId="2147481277"/>
            <ac:spMk id="67" creationId="{466A85AC-F185-B5D9-0AA1-7D4E34647F0E}"/>
          </ac:spMkLst>
        </pc:spChg>
        <pc:spChg chg="add del">
          <ac:chgData name="Valentina Bonucchi" userId="a3c72a79-03ca-4054-8650-fe55237bf169" providerId="ADAL" clId="{FD03BDA4-DF42-4522-982B-0BF0F159C9B1}" dt="2024-04-03T19:55:15.074" v="17" actId="478"/>
          <ac:spMkLst>
            <pc:docMk/>
            <pc:sldMk cId="2112464470" sldId="2147481277"/>
            <ac:spMk id="72" creationId="{B3ABFA7D-558F-070B-F0D9-5BAFE1DC0FC1}"/>
          </ac:spMkLst>
        </pc:spChg>
        <pc:spChg chg="add del">
          <ac:chgData name="Valentina Bonucchi" userId="a3c72a79-03ca-4054-8650-fe55237bf169" providerId="ADAL" clId="{FD03BDA4-DF42-4522-982B-0BF0F159C9B1}" dt="2024-04-03T19:55:15.074" v="17" actId="478"/>
          <ac:spMkLst>
            <pc:docMk/>
            <pc:sldMk cId="2112464470" sldId="2147481277"/>
            <ac:spMk id="74" creationId="{CA7841A4-F629-5D78-C9F3-511009B33F5F}"/>
          </ac:spMkLst>
        </pc:spChg>
        <pc:spChg chg="del">
          <ac:chgData name="Valentina Bonucchi" userId="a3c72a79-03ca-4054-8650-fe55237bf169" providerId="ADAL" clId="{FD03BDA4-DF42-4522-982B-0BF0F159C9B1}" dt="2024-04-03T19:55:15.074" v="17" actId="478"/>
          <ac:spMkLst>
            <pc:docMk/>
            <pc:sldMk cId="2112464470" sldId="2147481277"/>
            <ac:spMk id="75" creationId="{988F9FB2-A8EA-370C-0A15-FE934294EC6E}"/>
          </ac:spMkLst>
        </pc:spChg>
        <pc:spChg chg="del">
          <ac:chgData name="Valentina Bonucchi" userId="a3c72a79-03ca-4054-8650-fe55237bf169" providerId="ADAL" clId="{FD03BDA4-DF42-4522-982B-0BF0F159C9B1}" dt="2024-04-03T19:55:22.666" v="18" actId="478"/>
          <ac:spMkLst>
            <pc:docMk/>
            <pc:sldMk cId="2112464470" sldId="2147481277"/>
            <ac:spMk id="76" creationId="{BCF18A07-D6E8-BE9E-5429-104AF5C05861}"/>
          </ac:spMkLst>
        </pc:spChg>
        <pc:spChg chg="del">
          <ac:chgData name="Valentina Bonucchi" userId="a3c72a79-03ca-4054-8650-fe55237bf169" providerId="ADAL" clId="{FD03BDA4-DF42-4522-982B-0BF0F159C9B1}" dt="2024-04-03T19:55:22.666" v="18" actId="478"/>
          <ac:spMkLst>
            <pc:docMk/>
            <pc:sldMk cId="2112464470" sldId="2147481277"/>
            <ac:spMk id="77" creationId="{70E4A254-30E2-3201-AB46-85E66AF8E6D1}"/>
          </ac:spMkLst>
        </pc:spChg>
        <pc:spChg chg="del">
          <ac:chgData name="Valentina Bonucchi" userId="a3c72a79-03ca-4054-8650-fe55237bf169" providerId="ADAL" clId="{FD03BDA4-DF42-4522-982B-0BF0F159C9B1}" dt="2024-04-03T19:55:22.666" v="18" actId="478"/>
          <ac:spMkLst>
            <pc:docMk/>
            <pc:sldMk cId="2112464470" sldId="2147481277"/>
            <ac:spMk id="79" creationId="{900BDABF-C49B-CC86-965A-DD4EFEB6BB55}"/>
          </ac:spMkLst>
        </pc:spChg>
        <pc:spChg chg="del">
          <ac:chgData name="Valentina Bonucchi" userId="a3c72a79-03ca-4054-8650-fe55237bf169" providerId="ADAL" clId="{FD03BDA4-DF42-4522-982B-0BF0F159C9B1}" dt="2024-04-03T19:55:22.666" v="18" actId="478"/>
          <ac:spMkLst>
            <pc:docMk/>
            <pc:sldMk cId="2112464470" sldId="2147481277"/>
            <ac:spMk id="80" creationId="{AA4230D6-9F1F-B62A-8CEA-C603D0F2AEAE}"/>
          </ac:spMkLst>
        </pc:spChg>
        <pc:spChg chg="add del">
          <ac:chgData name="Valentina Bonucchi" userId="a3c72a79-03ca-4054-8650-fe55237bf169" providerId="ADAL" clId="{FD03BDA4-DF42-4522-982B-0BF0F159C9B1}" dt="2024-04-03T19:55:15.074" v="17" actId="478"/>
          <ac:spMkLst>
            <pc:docMk/>
            <pc:sldMk cId="2112464470" sldId="2147481277"/>
            <ac:spMk id="82" creationId="{6E9F5E19-5629-B5F4-6475-84F8DD9FDF50}"/>
          </ac:spMkLst>
        </pc:spChg>
        <pc:spChg chg="add del">
          <ac:chgData name="Valentina Bonucchi" userId="a3c72a79-03ca-4054-8650-fe55237bf169" providerId="ADAL" clId="{FD03BDA4-DF42-4522-982B-0BF0F159C9B1}" dt="2024-04-03T19:55:15.074" v="17" actId="478"/>
          <ac:spMkLst>
            <pc:docMk/>
            <pc:sldMk cId="2112464470" sldId="2147481277"/>
            <ac:spMk id="83" creationId="{B15CE338-6D6E-5FA3-BE38-AC4CD560E323}"/>
          </ac:spMkLst>
        </pc:spChg>
        <pc:spChg chg="add del">
          <ac:chgData name="Valentina Bonucchi" userId="a3c72a79-03ca-4054-8650-fe55237bf169" providerId="ADAL" clId="{FD03BDA4-DF42-4522-982B-0BF0F159C9B1}" dt="2024-04-03T19:55:15.074" v="17" actId="478"/>
          <ac:spMkLst>
            <pc:docMk/>
            <pc:sldMk cId="2112464470" sldId="2147481277"/>
            <ac:spMk id="84" creationId="{EA559C00-5BF5-159C-A862-0D6BDACA7554}"/>
          </ac:spMkLst>
        </pc:spChg>
        <pc:spChg chg="add del">
          <ac:chgData name="Valentina Bonucchi" userId="a3c72a79-03ca-4054-8650-fe55237bf169" providerId="ADAL" clId="{FD03BDA4-DF42-4522-982B-0BF0F159C9B1}" dt="2024-04-03T19:55:15.074" v="17" actId="478"/>
          <ac:spMkLst>
            <pc:docMk/>
            <pc:sldMk cId="2112464470" sldId="2147481277"/>
            <ac:spMk id="85" creationId="{DFF73F4A-AAD1-E332-01F8-87B86EEF3A6D}"/>
          </ac:spMkLst>
        </pc:spChg>
        <pc:grpChg chg="add del">
          <ac:chgData name="Valentina Bonucchi" userId="a3c72a79-03ca-4054-8650-fe55237bf169" providerId="ADAL" clId="{FD03BDA4-DF42-4522-982B-0BF0F159C9B1}" dt="2024-04-03T19:55:09.742" v="16" actId="478"/>
          <ac:grpSpMkLst>
            <pc:docMk/>
            <pc:sldMk cId="2112464470" sldId="2147481277"/>
            <ac:grpSpMk id="68" creationId="{DA131806-8187-B9FB-8513-8413D5669527}"/>
          </ac:grpSpMkLst>
        </pc:grpChg>
        <pc:picChg chg="add del">
          <ac:chgData name="Valentina Bonucchi" userId="a3c72a79-03ca-4054-8650-fe55237bf169" providerId="ADAL" clId="{FD03BDA4-DF42-4522-982B-0BF0F159C9B1}" dt="2024-04-03T19:54:40.219" v="14" actId="478"/>
          <ac:picMkLst>
            <pc:docMk/>
            <pc:sldMk cId="2112464470" sldId="2147481277"/>
            <ac:picMk id="22" creationId="{ABF37E40-AFD8-54B1-E9AA-283FAD5DB2C7}"/>
          </ac:picMkLst>
        </pc:picChg>
      </pc:sldChg>
      <pc:sldChg chg="new add del">
        <pc:chgData name="Valentina Bonucchi" userId="a3c72a79-03ca-4054-8650-fe55237bf169" providerId="ADAL" clId="{FD03BDA4-DF42-4522-982B-0BF0F159C9B1}" dt="2024-04-04T08:16:08.546" v="709" actId="47"/>
        <pc:sldMkLst>
          <pc:docMk/>
          <pc:sldMk cId="469593868" sldId="2147481280"/>
        </pc:sldMkLst>
      </pc:sldChg>
      <pc:sldMasterChg chg="addSp delSp modSp mod">
        <pc:chgData name="Valentina Bonucchi" userId="a3c72a79-03ca-4054-8650-fe55237bf169" providerId="ADAL" clId="{FD03BDA4-DF42-4522-982B-0BF0F159C9B1}" dt="2024-04-03T19:56:06.085" v="65"/>
        <pc:sldMasterMkLst>
          <pc:docMk/>
          <pc:sldMasterMk cId="2566565658" sldId="2147483648"/>
        </pc:sldMasterMkLst>
        <pc:spChg chg="mod">
          <ac:chgData name="Valentina Bonucchi" userId="a3c72a79-03ca-4054-8650-fe55237bf169" providerId="ADAL" clId="{FD03BDA4-DF42-4522-982B-0BF0F159C9B1}" dt="2024-04-03T19:56:05.912" v="24" actId="948"/>
          <ac:spMkLst>
            <pc:docMk/>
            <pc:sldMasterMk cId="2566565658" sldId="2147483648"/>
            <ac:spMk id="2" creationId="{00000000-0000-0000-0000-000000000000}"/>
          </ac:spMkLst>
        </pc:spChg>
        <pc:spChg chg="add del mod modVis">
          <ac:chgData name="Valentina Bonucchi" userId="a3c72a79-03ca-4054-8650-fe55237bf169" providerId="ADAL" clId="{FD03BDA4-DF42-4522-982B-0BF0F159C9B1}" dt="2024-04-03T19:56:06.081" v="63"/>
          <ac:spMkLst>
            <pc:docMk/>
            <pc:sldMasterMk cId="2566565658" sldId="2147483648"/>
            <ac:spMk id="8" creationId="{B50AFB20-1041-7521-9682-2AE01C6C1437}"/>
          </ac:spMkLst>
        </pc:spChg>
        <pc:graphicFrameChg chg="mod">
          <ac:chgData name="Valentina Bonucchi" userId="a3c72a79-03ca-4054-8650-fe55237bf169" providerId="ADAL" clId="{FD03BDA4-DF42-4522-982B-0BF0F159C9B1}" dt="2024-04-03T19:56:06.085" v="65"/>
          <ac:graphicFrameMkLst>
            <pc:docMk/>
            <pc:sldMasterMk cId="2566565658" sldId="2147483648"/>
            <ac:graphicFrameMk id="7" creationId="{00000000-0000-0000-0000-000000000000}"/>
          </ac:graphicFrameMkLst>
        </pc:graphicFrameChg>
      </pc:sldMaster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4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364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066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318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140289"/>
      </p:ext>
    </p:extLst>
  </p:cSld>
  <p:clrMapOvr>
    <a:masterClrMapping/>
  </p:clrMapOvr>
</p:notes>
</file>

<file path=ppt/slideLayouts/_rels/slideLayout1.xml.rels><?xml version="1.0" encoding="UTF-8" standalone="yes" ?><Relationships xmlns="http://schemas.openxmlformats.org/package/2006/relationships"><Relationship Id="rId3" Target="../media/image1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3.xml" Type="http://schemas.openxmlformats.org/officeDocument/2006/relationships/tags"/><Relationship Id="rId4" Target="../media/image1.emf" Type="http://schemas.openxmlformats.org/officeDocument/2006/relationships/image"/></Relationships>
</file>

<file path=ppt/slideLayouts/_rels/slideLayout10.xml.rels><?xml version="1.0" encoding="UTF-8" standalone="yes" ?><Relationships xmlns="http://schemas.openxmlformats.org/package/2006/relationships"><Relationship Id="rId3" Target="../media/image1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5.xml" Type="http://schemas.openxmlformats.org/officeDocument/2006/relationships/tags"/><Relationship Id="rId4" Target="../media/image1.emf" Type="http://schemas.openxmlformats.org/officeDocument/2006/relationships/image"/></Relationships>
</file>

<file path=ppt/slideLayouts/_rels/slideLayout11.xml.rels><?xml version="1.0" encoding="UTF-8" standalone="yes" ?><Relationships xmlns="http://schemas.openxmlformats.org/package/2006/relationships"><Relationship Id="rId3" Target="../media/image1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6.xml" Type="http://schemas.openxmlformats.org/officeDocument/2006/relationships/tags"/><Relationship Id="rId4" Target="../media/image1.emf" Type="http://schemas.openxmlformats.org/officeDocument/2006/relationships/image"/></Relationships>
</file>

<file path=ppt/slideLayouts/_rels/slideLayout12.xml.rels><?xml version="1.0" encoding="UTF-8" standalone="yes" ?><Relationships xmlns="http://schemas.openxmlformats.org/package/2006/relationships"><Relationship Id="rId3" Target="../media/image1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7.xml" Type="http://schemas.openxmlformats.org/officeDocument/2006/relationships/tags"/><Relationship Id="rId4" Target="../media/image1.emf" Type="http://schemas.openxmlformats.org/officeDocument/2006/relationships/image"/></Relationships>
</file>

<file path=ppt/slideLayouts/_rels/slideLayout13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8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14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9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15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10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11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18.xml.rels><?xml version="1.0" encoding="UTF-8" standalone="yes" ?><Relationships xmlns="http://schemas.openxmlformats.org/package/2006/relationships"><Relationship Id="rId3" Target="../media/image5.png" Type="http://schemas.openxmlformats.org/officeDocument/2006/relationships/image"/><Relationship Id="rId7" Target="../media/image9.png" Type="http://schemas.openxmlformats.org/officeDocument/2006/relationships/image"/><Relationship Id="rId2" Target="../media/image4.png" Type="http://schemas.openxmlformats.org/officeDocument/2006/relationships/image"/><Relationship Id="rId1" Target="../slideMasters/slideMaster1.xml" Type="http://schemas.openxmlformats.org/officeDocument/2006/relationships/slideMaster"/><Relationship Id="rId6" Target="../media/image8.jpeg" Type="http://schemas.openxmlformats.org/officeDocument/2006/relationships/image"/><Relationship Id="rId5" Target="../media/image7.jpeg" Type="http://schemas.openxmlformats.org/officeDocument/2006/relationships/image"/><Relationship Id="rId4" Target="../media/image6.jpeg" Type="http://schemas.openxmlformats.org/officeDocument/2006/relationships/image"/></Relationships>
</file>

<file path=ppt/slideLayouts/_rels/slideLayout19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12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 ?><Relationships xmlns="http://schemas.openxmlformats.org/package/2006/relationships"><Relationship Id="rId3" Target="../media/image3.emf" Type="http://schemas.openxmlformats.org/officeDocument/2006/relationships/image"/><Relationship Id="rId2" Target="../slideMasters/slideMaster1.xml" Type="http://schemas.openxmlformats.org/officeDocument/2006/relationships/slideMaster"/><Relationship Id="rId1" Target="../tags/tag4.xml" Type="http://schemas.openxmlformats.org/officeDocument/2006/relationships/tags"/><Relationship Id="rId4" Target="../media/image3.emf" Type="http://schemas.openxmlformats.org/officeDocument/2006/relationships/image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idx="14" sz="quarter" type="pic"/>
          </p:nvPr>
        </p:nvSpPr>
        <p:spPr>
          <a:xfrm>
            <a:off x="0" y="1"/>
            <a:ext cx="12192000" cy="6273799"/>
          </a:xfrm>
        </p:spPr>
        <p:txBody>
          <a:bodyPr anchor="ctr" tIns="1249724"/>
          <a:lstStyle>
            <a:lvl1pPr algn="ctr" indent="0" marL="0">
              <a:buNone/>
              <a:defRPr i="1" sz="1600"/>
            </a:lvl1pPr>
          </a:lstStyle>
          <a:p>
            <a:r>
              <a:rPr lang="en-US" noProof="0"/>
              <a:t>Click icon to add picture</a:t>
            </a:r>
            <a:endParaRPr dirty="0" lang="en-US" noProof="0"/>
          </a:p>
        </p:txBody>
      </p:sp>
      <p:pic>
        <p:nvPicPr>
          <p:cNvPr hidden="1" id="3" name="Object 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dirty="0" lang="en-US"/>
              <a:t>Click to edit Presentation Headline.</a:t>
            </a:r>
            <a:br>
              <a:rPr dirty="0" lang="en-US"/>
            </a:br>
            <a:r>
              <a:rPr dirty="0"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idx="18" sz="quarter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216000" rIns="180000" rtlCol="0" tIns="864000" vert="horz">
            <a:noAutofit/>
          </a:bodyPr>
          <a:lstStyle>
            <a:lvl1pPr>
              <a:defRPr dirty="0" lang="en-US" noProof="0"/>
            </a:lvl1pPr>
            <a:lvl2pPr>
              <a:defRPr dirty="0" lang="en-US" noProof="0"/>
            </a:lvl2pPr>
            <a:lvl3pPr>
              <a:defRPr dirty="0" lang="en-US" noProof="0"/>
            </a:lvl3pPr>
            <a:lvl4pPr>
              <a:defRPr dirty="0" lang="en-US" noProof="0"/>
            </a:lvl4pPr>
            <a:lvl5pPr>
              <a:defRPr dirty="0" lang="en-US" noProof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pic>
        <p:nvPicPr>
          <p:cNvPr hidden="1" id="13" name="Object 1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hasCustomPrompt="1" idx="13" sz="quarter" type="body"/>
          </p:nvPr>
        </p:nvSpPr>
        <p:spPr>
          <a:xfrm>
            <a:off x="479425" y="1531915"/>
            <a:ext cx="2586038" cy="775354"/>
          </a:xfrm>
          <a:noFill/>
        </p:spPr>
        <p:txBody>
          <a:bodyPr anchor="t" bIns="0" lIns="216000" rIns="144000" tIns="180000">
            <a:noAutofit/>
          </a:bodyPr>
          <a:lstStyle>
            <a:lvl1pPr indent="0" marL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idx="23" sz="quarter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216000" rIns="180000" rtlCol="0" tIns="864000" vert="horz">
            <a:noAutofit/>
          </a:bodyPr>
          <a:lstStyle>
            <a:lvl1pPr>
              <a:defRPr dirty="0" lang="en-US" noProof="0"/>
            </a:lvl1pPr>
            <a:lvl2pPr>
              <a:defRPr dirty="0" lang="en-US" noProof="0"/>
            </a:lvl2pPr>
            <a:lvl3pPr>
              <a:defRPr dirty="0" lang="en-US" noProof="0"/>
            </a:lvl3pPr>
            <a:lvl4pPr>
              <a:defRPr dirty="0" lang="en-US" noProof="0"/>
            </a:lvl4pPr>
            <a:lvl5pPr>
              <a:defRPr dirty="0" lang="en-US" noProof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hasCustomPrompt="1" idx="24" sz="quarter" type="body"/>
          </p:nvPr>
        </p:nvSpPr>
        <p:spPr>
          <a:xfrm>
            <a:off x="3361795" y="1531915"/>
            <a:ext cx="2586038" cy="775354"/>
          </a:xfrm>
          <a:noFill/>
        </p:spPr>
        <p:txBody>
          <a:bodyPr anchor="t" bIns="0" lIns="216000" rIns="144000" tIns="180000">
            <a:noAutofit/>
          </a:bodyPr>
          <a:lstStyle>
            <a:lvl1pPr indent="0" marL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idx="25" sz="quarter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216000" rIns="180000" rtlCol="0" tIns="864000" vert="horz">
            <a:noAutofit/>
          </a:bodyPr>
          <a:lstStyle>
            <a:lvl1pPr>
              <a:defRPr dirty="0" lang="en-US" noProof="0"/>
            </a:lvl1pPr>
            <a:lvl2pPr>
              <a:defRPr dirty="0" lang="en-US" noProof="0"/>
            </a:lvl2pPr>
            <a:lvl3pPr>
              <a:defRPr dirty="0" lang="en-US" noProof="0"/>
            </a:lvl3pPr>
            <a:lvl4pPr>
              <a:defRPr dirty="0" lang="en-US" noProof="0"/>
            </a:lvl4pPr>
            <a:lvl5pPr>
              <a:defRPr dirty="0" lang="en-US" noProof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hasCustomPrompt="1" idx="26" sz="quarter" type="body"/>
          </p:nvPr>
        </p:nvSpPr>
        <p:spPr>
          <a:xfrm>
            <a:off x="6244166" y="1531915"/>
            <a:ext cx="2586038" cy="775354"/>
          </a:xfrm>
          <a:noFill/>
        </p:spPr>
        <p:txBody>
          <a:bodyPr anchor="t" bIns="0" lIns="216000" rIns="144000" tIns="180000">
            <a:noAutofit/>
          </a:bodyPr>
          <a:lstStyle>
            <a:lvl1pPr indent="0" marL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idx="27" sz="quarter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216000" rIns="180000" rtlCol="0" tIns="864000" vert="horz">
            <a:noAutofit/>
          </a:bodyPr>
          <a:lstStyle>
            <a:lvl1pPr>
              <a:defRPr dirty="0" lang="en-US" noProof="0"/>
            </a:lvl1pPr>
            <a:lvl2pPr>
              <a:defRPr dirty="0" lang="en-US" noProof="0"/>
            </a:lvl2pPr>
            <a:lvl3pPr>
              <a:defRPr dirty="0" lang="en-US" noProof="0"/>
            </a:lvl3pPr>
            <a:lvl4pPr>
              <a:defRPr dirty="0" lang="en-US" noProof="0"/>
            </a:lvl4pPr>
            <a:lvl5pPr>
              <a:defRPr dirty="0" lang="en-US" noProof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hasCustomPrompt="1" idx="28" sz="quarter" type="body"/>
          </p:nvPr>
        </p:nvSpPr>
        <p:spPr>
          <a:xfrm>
            <a:off x="9126537" y="1531915"/>
            <a:ext cx="2586038" cy="775354"/>
          </a:xfrm>
          <a:noFill/>
        </p:spPr>
        <p:txBody>
          <a:bodyPr anchor="t" bIns="0" lIns="216000" rIns="144000" tIns="180000">
            <a:noAutofit/>
          </a:bodyPr>
          <a:lstStyle>
            <a:lvl1pPr indent="0" marL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idx="29" sz="half" type="dt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idx="30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idx="3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hasCustomPrompt="1" idx="23" sz="quarter" type="pic"/>
          </p:nvPr>
        </p:nvSpPr>
        <p:spPr>
          <a:xfrm>
            <a:off x="0" y="1"/>
            <a:ext cx="12192000" cy="2488018"/>
          </a:xfrm>
        </p:spPr>
        <p:txBody>
          <a:bodyPr anchor="b" anchorCtr="0" bIns="72000" lIns="72000" rIns="71974" tIns="71974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dirty="0" lang="en-US" noProof="0"/>
              <a:t>Click to insert a picture</a:t>
            </a:r>
            <a:br>
              <a:rPr dirty="0" lang="en-US" noProof="0"/>
            </a:br>
            <a:r>
              <a:rPr dirty="0" lang="en-US" noProof="0"/>
              <a:t>Note that the picture will be inserted on top of the text placeholder.</a:t>
            </a:r>
            <a:br>
              <a:rPr dirty="0" lang="en-US" noProof="0"/>
            </a:br>
            <a:r>
              <a:rPr dirty="0" lang="en-US" noProof="0"/>
              <a:t>Therefore, in order to insert text, right click the picture and choose "Send to back"</a:t>
            </a:r>
          </a:p>
        </p:txBody>
      </p:sp>
      <p:pic>
        <p:nvPicPr>
          <p:cNvPr hidden="1" id="13" name="Object 1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hasCustomPrompt="1" idx="13" sz="quarter" type="body"/>
          </p:nvPr>
        </p:nvSpPr>
        <p:spPr>
          <a:xfrm>
            <a:off x="1064435" y="2805514"/>
            <a:ext cx="4269012" cy="623486"/>
          </a:xfrm>
          <a:noFill/>
        </p:spPr>
        <p:txBody>
          <a:bodyPr anchor="ctr" bIns="0" lIns="144000" rIns="144000" tIns="0">
            <a:noAutofit/>
          </a:bodyPr>
          <a:lstStyle>
            <a:lvl1pPr algn="ctr" indent="0" marL="0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</a:t>
            </a:r>
            <a:br>
              <a:rPr dirty="0" lang="en-US" noProof="0"/>
            </a:br>
            <a:r>
              <a:rPr dirty="0"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7" sz="quarter" type="body"/>
          </p:nvPr>
        </p:nvSpPr>
        <p:spPr>
          <a:xfrm>
            <a:off x="6644154" y="2803583"/>
            <a:ext cx="4267530" cy="622719"/>
          </a:xfrm>
          <a:noFill/>
        </p:spPr>
        <p:txBody>
          <a:bodyPr anchor="ctr" bIns="0" lIns="144000" rIns="144000" tIns="0">
            <a:noAutofit/>
          </a:bodyPr>
          <a:lstStyle>
            <a:lvl1pPr algn="ctr" indent="0" marL="0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hasCustomPrompt="1" idx="18" sz="quarter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hasCustomPrompt="1" idx="19" sz="quarter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hasCustomPrompt="1" idx="43" sz="quarter" type="body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hasCustomPrompt="1" idx="44" sz="quarter" type="body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idx="45" sz="half" type="dt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idx="4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idx="4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hasCustomPrompt="1" idx="25" sz="quarter" type="pic"/>
          </p:nvPr>
        </p:nvSpPr>
        <p:spPr>
          <a:xfrm>
            <a:off x="0" y="1"/>
            <a:ext cx="12192000" cy="2488018"/>
          </a:xfrm>
        </p:spPr>
        <p:txBody>
          <a:bodyPr anchor="b" anchorCtr="0" bIns="72000" lIns="72000" rIns="71974" tIns="71974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dirty="0" lang="en-US" noProof="0"/>
              <a:t>Click to insert a picture</a:t>
            </a:r>
            <a:br>
              <a:rPr dirty="0" lang="en-US" noProof="0"/>
            </a:br>
            <a:r>
              <a:rPr dirty="0" lang="en-US" noProof="0"/>
              <a:t>Note that the picture will be inserted on top of the text placeholder.</a:t>
            </a:r>
            <a:br>
              <a:rPr dirty="0" lang="en-US" noProof="0"/>
            </a:br>
            <a:r>
              <a:rPr dirty="0" lang="en-US" noProof="0"/>
              <a:t>Therefore, in order to insert text, right click the picture and choose "Send to back"</a:t>
            </a:r>
          </a:p>
        </p:txBody>
      </p:sp>
      <p:pic>
        <p:nvPicPr>
          <p:cNvPr hidden="1" id="13" name="Object 1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hasCustomPrompt="1" idx="13" sz="quarter" type="body"/>
          </p:nvPr>
        </p:nvSpPr>
        <p:spPr>
          <a:xfrm>
            <a:off x="479426" y="2914458"/>
            <a:ext cx="2725830" cy="622800"/>
          </a:xfrm>
          <a:noFill/>
        </p:spPr>
        <p:txBody>
          <a:bodyPr anchor="ctr" bIns="0" lIns="144000" rIns="144000" tIns="0">
            <a:noAutofit/>
          </a:bodyPr>
          <a:lstStyle>
            <a:lvl1pPr indent="0" marL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hasCustomPrompt="1" idx="18" sz="quarter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hasCustomPrompt="1" idx="43" sz="quarter" type="body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hasCustomPrompt="1" idx="44" sz="quarter" type="body"/>
          </p:nvPr>
        </p:nvSpPr>
        <p:spPr>
          <a:xfrm>
            <a:off x="3315198" y="2914458"/>
            <a:ext cx="2725830" cy="622800"/>
          </a:xfrm>
          <a:noFill/>
        </p:spPr>
        <p:txBody>
          <a:bodyPr anchor="ctr" bIns="0" lIns="144000" rIns="144000" tIns="0">
            <a:noAutofit/>
          </a:bodyPr>
          <a:lstStyle>
            <a:lvl1pPr indent="0" marL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hasCustomPrompt="1" idx="45" sz="quarter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hasCustomPrompt="1" idx="46" sz="quarter" type="body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hasCustomPrompt="1" idx="47" sz="quarter" type="body"/>
          </p:nvPr>
        </p:nvSpPr>
        <p:spPr>
          <a:xfrm>
            <a:off x="6150970" y="2914458"/>
            <a:ext cx="2725830" cy="622800"/>
          </a:xfrm>
          <a:noFill/>
        </p:spPr>
        <p:txBody>
          <a:bodyPr anchor="ctr" bIns="0" lIns="144000" rIns="144000" tIns="0">
            <a:noAutofit/>
          </a:bodyPr>
          <a:lstStyle>
            <a:lvl1pPr indent="0" marL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hasCustomPrompt="1" idx="48" sz="quarter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hasCustomPrompt="1" idx="49" sz="quarter" type="body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hasCustomPrompt="1" idx="50" sz="quarter" type="body"/>
          </p:nvPr>
        </p:nvSpPr>
        <p:spPr>
          <a:xfrm>
            <a:off x="8986744" y="2914458"/>
            <a:ext cx="2725830" cy="622800"/>
          </a:xfrm>
          <a:noFill/>
        </p:spPr>
        <p:txBody>
          <a:bodyPr anchor="ctr" bIns="0" lIns="144000" rIns="144000" tIns="0">
            <a:noAutofit/>
          </a:bodyPr>
          <a:lstStyle>
            <a:lvl1pPr indent="0" marL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dirty="0"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hasCustomPrompt="1" idx="51" sz="quarter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rIns="144000" t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dirty="0" lang="en-US" noProof="0"/>
              <a:t>Click to edit Master text styles</a:t>
            </a:r>
          </a:p>
          <a:p>
            <a:pPr lvl="1"/>
            <a:r>
              <a:rPr dirty="0" lang="en-US" noProof="0"/>
              <a:t>Second level</a:t>
            </a:r>
          </a:p>
          <a:p>
            <a:pPr lvl="2"/>
            <a:r>
              <a:rPr dirty="0" lang="en-US" noProof="0"/>
              <a:t>Third level</a:t>
            </a:r>
          </a:p>
          <a:p>
            <a:pPr lvl="3"/>
            <a:r>
              <a:rPr dirty="0" lang="en-US" noProof="0"/>
              <a:t>Fourth level</a:t>
            </a:r>
          </a:p>
          <a:p>
            <a:pPr lvl="4"/>
            <a:r>
              <a:rPr dirty="0"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hasCustomPrompt="1" idx="52" sz="quarter" type="body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tIns="0"/>
          <a:lstStyle>
            <a:lvl1pPr algn="ctr" indent="0" marL="0">
              <a:buNone/>
              <a:defRPr b="1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</a:defRPr>
            </a:lvl1pPr>
          </a:lstStyle>
          <a:p>
            <a:pPr lvl="0"/>
            <a:r>
              <a:rPr dirty="0"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idx="53" sz="half" type="dt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idx="54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idx="55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2" name="Object 1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idx="18" sz="half" type="dt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idx="19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idx="20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2" name="Object 1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hasCustomPrompt="1" idx="17" sz="quarter" type="pic"/>
          </p:nvPr>
        </p:nvSpPr>
        <p:spPr>
          <a:xfrm>
            <a:off x="6205538" y="0"/>
            <a:ext cx="5986461" cy="6284890"/>
          </a:xfrm>
        </p:spPr>
        <p:txBody>
          <a:bodyPr anchor="ctr" anchorCtr="0" bIns="61200" lIns="60458" rIns="60458" tIns="60458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dirty="0"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idx="18" sz="quarter" type="body"/>
          </p:nvPr>
        </p:nvSpPr>
        <p:spPr>
          <a:xfrm>
            <a:off x="479425" y="1412875"/>
            <a:ext cx="5507038" cy="4870450"/>
          </a:xfrm>
          <a:noFill/>
        </p:spPr>
        <p:txBody>
          <a:bodyPr anchor="t" bIns="0" lIns="0" rIns="0" t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idx="20" sz="half" type="dt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2" name="Object 1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idx="17" sz="quarter" type="body"/>
          </p:nvPr>
        </p:nvSpPr>
        <p:spPr>
          <a:xfrm>
            <a:off x="6200776" y="1412875"/>
            <a:ext cx="5511800" cy="4870450"/>
          </a:xfrm>
          <a:noFill/>
        </p:spPr>
        <p:txBody>
          <a:bodyPr anchor="t" bIns="0" lIns="0" rIns="0" t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hasCustomPrompt="1" idx="18" sz="quarter" type="pic"/>
          </p:nvPr>
        </p:nvSpPr>
        <p:spPr>
          <a:xfrm>
            <a:off x="0" y="0"/>
            <a:ext cx="5986463" cy="6283325"/>
          </a:xfrm>
        </p:spPr>
        <p:txBody>
          <a:bodyPr anchor="ctr" anchorCtr="0" bIns="0" lIns="0" rIns="0" tIns="0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idx="20" sz="half" type="dt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hasCustomPrompt="1" idx="18" sz="quarter" type="pic"/>
          </p:nvPr>
        </p:nvSpPr>
        <p:spPr>
          <a:xfrm>
            <a:off x="0" y="1"/>
            <a:ext cx="12192000" cy="6283324"/>
          </a:xfrm>
        </p:spPr>
        <p:txBody>
          <a:bodyPr anchor="b" anchorCtr="0" bIns="72000" lIns="72000" rIns="71974" tIns="71974"/>
          <a:lstStyle>
            <a:lvl1pPr algn="ctr" indent="0" marL="0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dirty="0" lang="en-US" noProof="0"/>
              <a:t>Click to insert a picture</a:t>
            </a:r>
            <a:br>
              <a:rPr dirty="0" lang="en-US" noProof="0"/>
            </a:br>
            <a:br>
              <a:rPr dirty="0" lang="en-US" noProof="0"/>
            </a:br>
            <a:r>
              <a:rPr dirty="0" lang="en-US" noProof="0"/>
              <a:t>Note that the picture will be inserted on top of the text placeholder.</a:t>
            </a:r>
            <a:br>
              <a:rPr dirty="0" lang="en-US" noProof="0"/>
            </a:br>
            <a:r>
              <a:rPr dirty="0" lang="en-US" noProof="0"/>
              <a:t>Therefore, in order to insert text, right click the picture and choose "Send to back"</a:t>
            </a:r>
          </a:p>
        </p:txBody>
      </p:sp>
      <p:pic>
        <p:nvPicPr>
          <p:cNvPr hidden="1" id="2" name="Object 1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idx="19" sz="half" type="dt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idx="20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idx="2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dirty="0" lang="en-US"/>
              <a:t>Insert closing headline.</a:t>
            </a:r>
            <a:br>
              <a:rPr dirty="0" lang="en-US"/>
            </a:br>
            <a:r>
              <a:rPr dirty="0"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0" l="210" r="472" t="404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New Slide</a:t>
            </a:r>
          </a:p>
          <a:p>
            <a:pPr defTabSz="914400"/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Home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Layout </a:t>
            </a:r>
            <a:r>
              <a:rPr b="0"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HARTS 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dirty="0" lang="en-US" sz="800">
                <a:solidFill>
                  <a:srgbClr val="000000"/>
                </a:solidFill>
                <a:cs charset="0" pitchFamily="34" typeface="Arial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View  </a:t>
            </a:r>
            <a:r>
              <a:rPr b="0" dirty="0" lang="en-US" sz="800">
                <a:solidFill>
                  <a:schemeClr val="tx1"/>
                </a:solidFill>
                <a:latin typeface="+mj-lt"/>
                <a:cs charset="0" pitchFamily="34" typeface="Arial"/>
                <a:sym typeface="Wingdings 3"/>
              </a:rPr>
              <a:t> Guides</a:t>
            </a:r>
            <a:endParaRPr b="0" dirty="0" lang="en-US" sz="800">
              <a:solidFill>
                <a:schemeClr val="tx1"/>
              </a:solidFill>
              <a:latin typeface="+mj-lt"/>
              <a:cs charset="0" pitchFamily="34" typeface="Arial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b="0" dirty="0" lang="en-US" sz="800">
                <a:solidFill>
                  <a:srgbClr val="000000"/>
                </a:solidFill>
                <a:latin typeface="+mj-lt"/>
                <a:cs charset="0" pitchFamily="34" typeface="Arial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dirty="0"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algn="ctr" cap="flat" cmpd="sng" w="6350">
              <a:noFill/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algn="ctr" cap="flat" cmpd="sng" w="3175">
              <a:solidFill>
                <a:schemeClr val="bg2"/>
              </a:solidFill>
              <a:prstDash val="solid"/>
              <a:round/>
              <a:headEnd len="med" type="none" w="med"/>
              <a:tailEnd len="med" type="none" w="med"/>
            </a:ln>
            <a:effectLst/>
          </p:spPr>
          <p:txBody>
            <a:bodyPr anchor="ctr" anchorCtr="0" bIns="45720" compatLnSpc="1" lIns="54000" numCol="1" rIns="54000" rtlCol="0" tIns="45720" vert="horz" wrap="square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dirty="0"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bIns="0" lIns="0" rIns="0" tIns="0" wrap="square">
            <a:sp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latinLnBrk="0" rtl="0">
              <a:spcBef>
                <a:spcPct val="0"/>
              </a:spcBef>
              <a:buNone/>
              <a:defRPr b="1" kern="1200"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b="1" dirty="0" kern="1200" lang="en-US" sz="28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idx="19" sz="half" type="dt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idx="20" sz="quarter" type="ftr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idx="21" sz="quarter" type="sldNum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algn="ctr" cap="flat" cmpd="sng" w="6350">
            <a:noFill/>
            <a:prstDash val="solid"/>
            <a:round/>
            <a:headEnd len="med" type="none" w="med"/>
            <a:tailEnd len="med" type="none" w="med"/>
          </a:ln>
          <a:effectLst/>
        </p:spPr>
        <p:txBody>
          <a:bodyPr anchor="ctr" anchorCtr="0" bIns="45720" compatLnSpc="1" lIns="54000" numCol="1" rIns="54000" rtlCol="0" tIns="45720" vert="horz" wrap="square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cstate="email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cstate="email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MARTART </a:t>
            </a:r>
            <a:r>
              <a:rPr dirty="0" lang="en-US" sz="800">
                <a:solidFill>
                  <a:schemeClr val="tx1"/>
                </a:solidFill>
                <a:latin typeface="+mn-lt"/>
                <a:cs charset="0" pitchFamily="34" typeface="Arial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cstate="email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Keep charts and SmartArt simple and minimalistic. </a:t>
            </a:r>
            <a:br>
              <a:rPr dirty="0" lang="en-US" sz="800">
                <a:solidFill>
                  <a:schemeClr val="tx1"/>
                </a:solidFill>
                <a:cs charset="0" pitchFamily="34" typeface="Arial"/>
              </a:rPr>
            </a:br>
            <a:endParaRPr dirty="0" lang="en-US" sz="800">
              <a:solidFill>
                <a:schemeClr val="tx1"/>
              </a:solidFill>
              <a:cs charset="0" pitchFamily="34" typeface="Arial"/>
            </a:endParaRPr>
          </a:p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anchor="ctr" bIns="36000" lIns="108000" rIns="36000" rtlCol="0" tIns="36000" wrap="none">
            <a:noAutofit/>
          </a:bodyPr>
          <a:lstStyle/>
          <a:p>
            <a:pPr defTabSz="914400"/>
            <a:r>
              <a:rPr baseline="0" dirty="0" lang="en-US" spc="30" sz="1100">
                <a:solidFill>
                  <a:schemeClr val="tx1"/>
                </a:solidFill>
                <a:latin typeface="+mj-lt"/>
                <a:cs charset="0" pitchFamily="34" typeface="Arial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algn="l" defTabSz="914400" eaLnBrk="1" hangingPunct="1" latinLnBrk="0" marL="0" rtl="0"/>
            <a:r>
              <a:rPr b="0" dirty="0" kern="1200" lang="en-US" sz="800">
                <a:solidFill>
                  <a:srgbClr val="000000"/>
                </a:solidFill>
                <a:latin typeface="+mj-lt"/>
                <a:ea typeface="+mn-ea"/>
                <a:cs charset="0" pitchFamily="34" typeface="Arial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cstate="email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dirty="0"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fmla="val 50000" name="adj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dirty="0"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anchor="ctr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cs charset="0" pitchFamily="34" typeface="Arial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anchor="b" bIns="0" lIns="0" rIns="0" rtlCol="0" tIns="0" wrap="square">
            <a:spAutoFit/>
          </a:bodyPr>
          <a:lstStyle/>
          <a:p>
            <a:pPr defTabSz="914400"/>
            <a:r>
              <a:rPr dirty="0" lang="en-US" sz="800">
                <a:solidFill>
                  <a:schemeClr val="tx1"/>
                </a:solidFill>
                <a:latin typeface="+mj-lt"/>
                <a:cs charset="0" pitchFamily="34" typeface="Arial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cstate="email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lIns="0" wrap="square">
            <a:spAutoFit/>
          </a:bodyPr>
          <a:lstStyle/>
          <a:p>
            <a:r>
              <a:rPr dirty="0" lang="en-US" noProof="0" sz="2800">
                <a:latin typeface="+mj-lt"/>
              </a:rPr>
              <a:t>Nilfisk presentation guidelines and tips</a:t>
            </a:r>
            <a:endParaRPr dirty="0"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p="http://schemas.openxmlformats.org/presentationml/2006/main" xmlns:a="http://schemas.openxmlformats.org/drawingml/2006/main" xmlns:r="http://schemas.openxmlformats.org/officeDocument/2006/relationships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3" name="Object 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idx="10" sz="half" type="dt"/>
          </p:nvPr>
        </p:nvSpPr>
        <p:spPr/>
        <p:txBody>
          <a:bodyPr/>
          <a:lstStyle/>
          <a:p>
            <a:fld id="{743D5FB5-A3DB-4A5E-9DD4-85B5BB819B6C}" type="datetime1">
              <a:rPr lang="en-US" noProof="0" smtClean="0"/>
              <a:t>4/5/2024</a:t>
            </a:fld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931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3" name="Object 2"/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2118" y="1589"/>
            <a:ext cx="2116" cy="1587"/>
          </a:xfrm>
          <a:prstGeom prst="rect">
            <a:avLst/>
          </a:prstGeom>
        </p:spPr>
      </p:pic>
      <p:sp>
        <p:nvSpPr>
          <p:cNvPr id="12" name="Content Placeholder 11"/>
          <p:cNvSpPr>
            <a:spLocks noGrp="1"/>
          </p:cNvSpPr>
          <p:nvPr>
            <p:ph idx="13" sz="quarter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hasCustomPrompt="1" idx="14" sz="quarter" type="body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indent="0" marL="0">
              <a:buNone/>
              <a:defRPr sz="1800"/>
            </a:lvl1pPr>
            <a:lvl2pPr indent="0" marL="199104">
              <a:buNone/>
              <a:defRPr/>
            </a:lvl2pPr>
          </a:lstStyle>
          <a:p>
            <a:pPr lvl="0"/>
            <a:r>
              <a:rPr dirty="0" lang="en-US"/>
              <a:t>Click to insert </a:t>
            </a:r>
            <a:r>
              <a:rPr dirty="0" err="1" lang="en-US"/>
              <a:t>subheadline</a:t>
            </a:r>
            <a:endParaRPr dirty="0"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>
              <a:defRPr/>
            </a:lvl1pPr>
          </a:lstStyle>
          <a:p>
            <a:r>
              <a:rPr dirty="0"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idx="15" sz="half" type="dt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slideLayouts/slideLayout18.xml" Type="http://schemas.openxmlformats.org/officeDocument/2006/relationships/slideLayout"/><Relationship Id="rId3" Target="../slideLayouts/slideLayout3.xml" Type="http://schemas.openxmlformats.org/officeDocument/2006/relationships/slideLayout"/><Relationship Id="rId21" Target="../tags/tag2.xml" Type="http://schemas.openxmlformats.org/officeDocument/2006/relationships/tags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17" Target="../slideLayouts/slideLayout17.xml" Type="http://schemas.openxmlformats.org/officeDocument/2006/relationships/slideLayout"/><Relationship Id="rId2" Target="../slideLayouts/slideLayout2.xml" Type="http://schemas.openxmlformats.org/officeDocument/2006/relationships/slideLayout"/><Relationship Id="rId16" Target="../slideLayouts/slideLayout16.xml" Type="http://schemas.openxmlformats.org/officeDocument/2006/relationships/slideLayout"/><Relationship Id="rId20" Target="../theme/theme1.xml" Type="http://schemas.openxmlformats.org/officeDocument/2006/relationships/them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24" Target="../media/image2.png" Type="http://schemas.openxmlformats.org/officeDocument/2006/relationships/image"/><Relationship Id="rId5" Target="../slideLayouts/slideLayout5.xml" Type="http://schemas.openxmlformats.org/officeDocument/2006/relationships/slideLayout"/><Relationship Id="rId15" Target="../slideLayouts/slideLayout15.xml" Type="http://schemas.openxmlformats.org/officeDocument/2006/relationships/slideLayout"/><Relationship Id="rId23" Target="../media/image1.emf" Type="http://schemas.openxmlformats.org/officeDocument/2006/relationships/image"/><Relationship Id="rId10" Target="../slideLayouts/slideLayout10.xml" Type="http://schemas.openxmlformats.org/officeDocument/2006/relationships/slideLayout"/><Relationship Id="rId19" Target="../slideLayouts/slideLayout19.xml" Type="http://schemas.openxmlformats.org/officeDocument/2006/relationships/slideLayout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Relationship Id="rId22" Target="../media/image1.emf" Type="http://schemas.openxmlformats.org/officeDocument/2006/relationships/image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7" name="Object 6"/>
          <p:cNvPicPr/>
          <p:nvPr/>
        </p:nvPicPr>
        <p:blipFill>
          <a:blip r:embed="rId22"/>
          <a:stretch>
            <a:fillRect/>
          </a:stretch>
          <a:srcRect/>
        </p:blipFill>
        <p:spPr>
          <a:xfrm>
            <a:off x="2119" y="2118"/>
            <a:ext cx="2116" cy="211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/>
          <a:p>
            <a:r>
              <a:rPr dirty="0"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 type="body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bIns="0" lIns="0" rIns="0" rtlCol="0" tIns="0" vert="horz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dirty="0"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idx="2" sz="half" type="dt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anchor="ctr" bIns="0" lIns="0" rIns="0" rtlCol="0" tIns="0" vert="horz" wrap="square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4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idx="3" sz="quarter" type="ftr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anchor="ctr" bIns="0" lIns="0" rIns="0" rtlCol="0" tIns="0" vert="horz" wrap="square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dirty="0"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idx="4" sz="quarter" type="sldNum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anchor="ctr" bIns="0" lIns="0" rIns="0" rtlCol="0" tIns="0" vert="horz" wrap="square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dirty="0"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cstate="email"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dt="0" hdr="0"/>
  <p:txStyles>
    <p:titleStyle>
      <a:lvl1pPr algn="l" defTabSz="1023967" eaLnBrk="1" hangingPunct="1" latinLnBrk="0" rtl="0">
        <a:lnSpc>
          <a:spcPts val="3100"/>
        </a:lnSpc>
        <a:spcBef>
          <a:spcPct val="0"/>
        </a:spcBef>
        <a:spcAft>
          <a:spcPts val="400"/>
        </a:spcAft>
        <a:buNone/>
        <a:tabLst>
          <a:tab algn="l" pos="989013"/>
        </a:tabLst>
        <a:defRPr b="1" kern="1200" sz="28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algn="l" defTabSz="1023967" eaLnBrk="1" hangingPunct="1" indent="-199105" latinLnBrk="0" marL="199105" rtl="0">
        <a:spcBef>
          <a:spcPct val="20000"/>
        </a:spcBef>
        <a:buFont charset="0" panose="020B0604020202020204" pitchFamily="34" typeface="Arial"/>
        <a:buChar char="•"/>
        <a:defRPr kern="1200" sz="1400">
          <a:solidFill>
            <a:schemeClr val="tx1"/>
          </a:solidFill>
          <a:latin typeface="+mn-lt"/>
          <a:ea typeface="+mn-ea"/>
          <a:cs typeface="+mn-cs"/>
        </a:defRPr>
      </a:lvl1pPr>
      <a:lvl2pPr algn="l" defTabSz="1023967" eaLnBrk="1" hangingPunct="1" indent="-199105" latinLnBrk="0" marL="398209" rtl="0">
        <a:spcBef>
          <a:spcPct val="20000"/>
        </a:spcBef>
        <a:buFont charset="0" panose="020B0604020202020204" pitchFamily="34" typeface="Arial"/>
        <a:buChar char="–"/>
        <a:defRPr kern="1200" sz="1400">
          <a:solidFill>
            <a:schemeClr val="tx1"/>
          </a:solidFill>
          <a:latin typeface="+mn-lt"/>
          <a:ea typeface="+mn-ea"/>
          <a:cs typeface="+mn-cs"/>
        </a:defRPr>
      </a:lvl2pPr>
      <a:lvl3pPr algn="l" defTabSz="1023967" eaLnBrk="1" hangingPunct="1" indent="-199105" latinLnBrk="0" marL="597314" rtl="0">
        <a:spcBef>
          <a:spcPct val="20000"/>
        </a:spcBef>
        <a:buFont charset="0" panose="02070309020205020404" pitchFamily="49" typeface="Courier New"/>
        <a:buChar char="o"/>
        <a:defRPr kern="1200" sz="1300">
          <a:solidFill>
            <a:schemeClr val="tx1"/>
          </a:solidFill>
          <a:latin typeface="+mn-lt"/>
          <a:ea typeface="+mn-ea"/>
          <a:cs typeface="+mn-cs"/>
        </a:defRPr>
      </a:lvl3pPr>
      <a:lvl4pPr algn="l" defTabSz="1023967" eaLnBrk="1" hangingPunct="1" indent="-213327" latinLnBrk="0" marL="810641" rtl="0">
        <a:spcBef>
          <a:spcPct val="20000"/>
        </a:spcBef>
        <a:buFont charset="0" panose="02070309020205020404" pitchFamily="49" typeface="Courier New"/>
        <a:buChar char="o"/>
        <a:defRPr kern="1200" sz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023967" eaLnBrk="1" hangingPunct="1" indent="-199105" latinLnBrk="0" marL="1009745" rtl="0">
        <a:spcBef>
          <a:spcPct val="20000"/>
        </a:spcBef>
        <a:buFont charset="0" panose="02070309020205020404" pitchFamily="49" typeface="Courier New"/>
        <a:buChar char="o"/>
        <a:defRPr kern="1200" sz="1200">
          <a:solidFill>
            <a:schemeClr val="tx1"/>
          </a:solidFill>
          <a:latin typeface="+mn-lt"/>
          <a:ea typeface="+mn-ea"/>
          <a:cs typeface="+mn-cs"/>
        </a:defRPr>
      </a:lvl5pPr>
      <a:lvl6pPr algn="l" defTabSz="1023967" eaLnBrk="1" hangingPunct="1" indent="-255992" latinLnBrk="0" marL="2815910" rtl="0">
        <a:spcBef>
          <a:spcPct val="20000"/>
        </a:spcBef>
        <a:buFont charset="0" panose="020B0604020202020204" pitchFamily="34" typeface="Arial"/>
        <a:buChar char="•"/>
        <a:defRPr kern="1200" sz="2300">
          <a:solidFill>
            <a:schemeClr val="tx1"/>
          </a:solidFill>
          <a:latin typeface="+mn-lt"/>
          <a:ea typeface="+mn-ea"/>
          <a:cs typeface="+mn-cs"/>
        </a:defRPr>
      </a:lvl6pPr>
      <a:lvl7pPr algn="l" defTabSz="1023967" eaLnBrk="1" hangingPunct="1" indent="-255992" latinLnBrk="0" marL="3327892" rtl="0">
        <a:spcBef>
          <a:spcPct val="20000"/>
        </a:spcBef>
        <a:buFont charset="0" panose="020B0604020202020204" pitchFamily="34" typeface="Arial"/>
        <a:buChar char="•"/>
        <a:defRPr kern="1200" sz="2300">
          <a:solidFill>
            <a:schemeClr val="tx1"/>
          </a:solidFill>
          <a:latin typeface="+mn-lt"/>
          <a:ea typeface="+mn-ea"/>
          <a:cs typeface="+mn-cs"/>
        </a:defRPr>
      </a:lvl7pPr>
      <a:lvl8pPr algn="l" defTabSz="1023967" eaLnBrk="1" hangingPunct="1" indent="-255992" latinLnBrk="0" marL="3839876" rtl="0">
        <a:spcBef>
          <a:spcPct val="20000"/>
        </a:spcBef>
        <a:buFont charset="0" panose="020B0604020202020204" pitchFamily="34" typeface="Arial"/>
        <a:buChar char="•"/>
        <a:defRPr kern="1200" sz="2300">
          <a:solidFill>
            <a:schemeClr val="tx1"/>
          </a:solidFill>
          <a:latin typeface="+mn-lt"/>
          <a:ea typeface="+mn-ea"/>
          <a:cs typeface="+mn-cs"/>
        </a:defRPr>
      </a:lvl8pPr>
      <a:lvl9pPr algn="l" defTabSz="1023967" eaLnBrk="1" hangingPunct="1" indent="-255992" latinLnBrk="0" marL="4351859" rtl="0">
        <a:spcBef>
          <a:spcPct val="20000"/>
        </a:spcBef>
        <a:buFont charset="0" panose="020B0604020202020204" pitchFamily="34" typeface="Arial"/>
        <a:buChar char="•"/>
        <a:defRPr kern="1200" sz="23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algn="l" defTabSz="1023967" eaLnBrk="1" hangingPunct="1" latinLnBrk="0" marL="0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1pPr>
      <a:lvl2pPr algn="l" defTabSz="1023967" eaLnBrk="1" hangingPunct="1" latinLnBrk="0" marL="511984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2pPr>
      <a:lvl3pPr algn="l" defTabSz="1023967" eaLnBrk="1" hangingPunct="1" latinLnBrk="0" marL="1023967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3pPr>
      <a:lvl4pPr algn="l" defTabSz="1023967" eaLnBrk="1" hangingPunct="1" latinLnBrk="0" marL="1535951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4pPr>
      <a:lvl5pPr algn="l" defTabSz="1023967" eaLnBrk="1" hangingPunct="1" latinLnBrk="0" marL="2047934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5pPr>
      <a:lvl6pPr algn="l" defTabSz="1023967" eaLnBrk="1" hangingPunct="1" latinLnBrk="0" marL="2559918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6pPr>
      <a:lvl7pPr algn="l" defTabSz="1023967" eaLnBrk="1" hangingPunct="1" latinLnBrk="0" marL="3071901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7pPr>
      <a:lvl8pPr algn="l" defTabSz="1023967" eaLnBrk="1" hangingPunct="1" latinLnBrk="0" marL="3583884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8pPr>
      <a:lvl9pPr algn="l" defTabSz="1023967" eaLnBrk="1" hangingPunct="1" latinLnBrk="0" marL="4095868" rtl="0">
        <a:defRPr kern="1200" sz="20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 ?><Relationships xmlns="http://schemas.openxmlformats.org/package/2006/relationships"><Relationship Id="rId8" Target="../media/image37.jpeg" Type="http://schemas.openxmlformats.org/officeDocument/2006/relationships/image"/><Relationship Id="rId3" Target="../media/image29.jpeg" Type="http://schemas.openxmlformats.org/officeDocument/2006/relationships/image"/><Relationship Id="rId7" Target="../media/image36.png" Type="http://schemas.openxmlformats.org/officeDocument/2006/relationships/image"/><Relationship Id="rId2" Target="../notesSlides/notesSlide3.xml" Type="http://schemas.openxmlformats.org/officeDocument/2006/relationships/notesSlide"/><Relationship Id="rId1" Target="../slideLayouts/slideLayout10.xml" Type="http://schemas.openxmlformats.org/officeDocument/2006/relationships/slideLayout"/><Relationship Id="rId6" Target="../media/image35.png" Type="http://schemas.openxmlformats.org/officeDocument/2006/relationships/image"/><Relationship Id="rId5" Target="../media/image34.svg" Type="http://schemas.openxmlformats.org/officeDocument/2006/relationships/image"/><Relationship Id="rId10" Target="../media/image39.jpeg" Type="http://schemas.openxmlformats.org/officeDocument/2006/relationships/image"/><Relationship Id="rId4" Target="../media/image33.png" Type="http://schemas.openxmlformats.org/officeDocument/2006/relationships/image"/><Relationship Id="rId9" Target="../media/image38.jpeg" Type="http://schemas.openxmlformats.org/officeDocument/2006/relationships/image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 ?><Relationships xmlns="http://schemas.openxmlformats.org/package/2006/relationships"><Relationship Id="rId3" Target="../media/image41.png" Type="http://schemas.openxmlformats.org/officeDocument/2006/relationships/image"/><Relationship Id="rId7" Target="../media/image45.png" Type="http://schemas.openxmlformats.org/officeDocument/2006/relationships/image"/><Relationship Id="rId2" Target="../media/image40.pn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44.png" Type="http://schemas.openxmlformats.org/officeDocument/2006/relationships/image"/><Relationship Id="rId5" Target="../media/image43.jpeg" Type="http://schemas.openxmlformats.org/officeDocument/2006/relationships/image"/><Relationship Id="rId4" Target="../media/image42.jpeg" Type="http://schemas.openxmlformats.org/officeDocument/2006/relationships/image"/></Relationships>
</file>

<file path=ppt/slides/_rels/slide13.xml.rels><?xml version="1.0" encoding="UTF-8" standalone="yes" ?><Relationships xmlns="http://schemas.openxmlformats.org/package/2006/relationships"><Relationship Id="rId3" Target="../media/image43.jpeg" Type="http://schemas.openxmlformats.org/officeDocument/2006/relationships/image"/><Relationship Id="rId7" Target="../media/image48.jpeg" Type="http://schemas.openxmlformats.org/officeDocument/2006/relationships/image"/><Relationship Id="rId2" Target="../media/image46.pn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47.png" Type="http://schemas.openxmlformats.org/officeDocument/2006/relationships/image"/><Relationship Id="rId5" Target="../media/image45.png" Type="http://schemas.openxmlformats.org/officeDocument/2006/relationships/image"/><Relationship Id="rId4" Target="../media/image44.png" Type="http://schemas.openxmlformats.org/officeDocument/2006/relationships/image"/></Relationships>
</file>

<file path=ppt/slides/_rels/slide14.xml.rels><?xml version="1.0" encoding="UTF-8" standalone="yes" ?><Relationships xmlns="http://schemas.openxmlformats.org/package/2006/relationships"><Relationship Id="rId8" Target="../media/image55.png" Type="http://schemas.openxmlformats.org/officeDocument/2006/relationships/image"/><Relationship Id="rId3" Target="../media/image50.png" Type="http://schemas.openxmlformats.org/officeDocument/2006/relationships/image"/><Relationship Id="rId7" Target="../media/image54.jpeg" Type="http://schemas.openxmlformats.org/officeDocument/2006/relationships/image"/><Relationship Id="rId2" Target="../media/image49.pn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53.png" Type="http://schemas.openxmlformats.org/officeDocument/2006/relationships/image"/><Relationship Id="rId5" Target="../media/image52.jpeg" Type="http://schemas.openxmlformats.org/officeDocument/2006/relationships/image"/><Relationship Id="rId4" Target="../media/image51.png" Type="http://schemas.openxmlformats.org/officeDocument/2006/relationships/image"/></Relationships>
</file>

<file path=ppt/slides/_rels/slide15.xml.rels><?xml version="1.0" encoding="UTF-8" standalone="yes" ?><Relationships xmlns="http://schemas.openxmlformats.org/package/2006/relationships"><Relationship Id="rId3" Target="../media/image56.jpeg" Type="http://schemas.openxmlformats.org/officeDocument/2006/relationships/image"/><Relationship Id="rId2" Target="../notesSlides/notesSlide4.xml" Type="http://schemas.openxmlformats.org/officeDocument/2006/relationships/notesSlide"/><Relationship Id="rId1" Target="../slideLayouts/slideLayout10.xml" Type="http://schemas.openxmlformats.org/officeDocument/2006/relationships/slideLayout"/><Relationship Id="rId6" Target="../media/image59.png" Type="http://schemas.openxmlformats.org/officeDocument/2006/relationships/image"/><Relationship Id="rId5" Target="../media/image58.jpeg" Type="http://schemas.openxmlformats.org/officeDocument/2006/relationships/image"/><Relationship Id="rId4" Target="../media/image57.jpeg" Type="http://schemas.openxmlformats.org/officeDocument/2006/relationships/image"/></Relationships>
</file>

<file path=ppt/slides/_rels/slide16.xml.rels><?xml version="1.0" encoding="UTF-8" standalone="yes" ?><Relationships xmlns="http://schemas.openxmlformats.org/package/2006/relationships"><Relationship Id="rId3" Target="../media/image61.jpeg" Type="http://schemas.openxmlformats.org/officeDocument/2006/relationships/image"/><Relationship Id="rId2" Target="../media/image60.png" Type="http://schemas.openxmlformats.org/officeDocument/2006/relationships/image"/><Relationship Id="rId1" Target="../slideLayouts/slideLayout7.xml" Type="http://schemas.openxmlformats.org/officeDocument/2006/relationships/slideLayout"/></Relationships>
</file>

<file path=ppt/slides/_rels/slide17.xml.rels><?xml version="1.0" encoding="UTF-8" standalone="yes" ?><Relationships xmlns="http://schemas.openxmlformats.org/package/2006/relationships"><Relationship Id="rId3" Target="../media/image63.png" Type="http://schemas.openxmlformats.org/officeDocument/2006/relationships/image"/><Relationship Id="rId2" Target="../media/image62.jpeg" Type="http://schemas.openxmlformats.org/officeDocument/2006/relationships/image"/><Relationship Id="rId1" Target="../slideLayouts/slideLayout7.xml" Type="http://schemas.openxmlformats.org/officeDocument/2006/relationships/slideLayout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 ?><Relationships xmlns="http://schemas.openxmlformats.org/package/2006/relationships"><Relationship Id="rId8" Target="../media/image74.jpeg" Type="http://schemas.openxmlformats.org/officeDocument/2006/relationships/image"/><Relationship Id="rId13" Target="../media/image79.jpeg" Type="http://schemas.openxmlformats.org/officeDocument/2006/relationships/image"/><Relationship Id="rId18" Target="../media/image84.jpeg" Type="http://schemas.openxmlformats.org/officeDocument/2006/relationships/image"/><Relationship Id="rId3" Target="../media/image69.jpeg" Type="http://schemas.openxmlformats.org/officeDocument/2006/relationships/image"/><Relationship Id="rId21" Target="../media/image87.png" Type="http://schemas.openxmlformats.org/officeDocument/2006/relationships/image"/><Relationship Id="rId7" Target="../media/image73.jpeg" Type="http://schemas.openxmlformats.org/officeDocument/2006/relationships/image"/><Relationship Id="rId12" Target="../media/image78.jpeg" Type="http://schemas.openxmlformats.org/officeDocument/2006/relationships/image"/><Relationship Id="rId17" Target="../media/image83.jpeg" Type="http://schemas.openxmlformats.org/officeDocument/2006/relationships/image"/><Relationship Id="rId2" Target="../media/image68.jpeg" Type="http://schemas.openxmlformats.org/officeDocument/2006/relationships/image"/><Relationship Id="rId16" Target="../media/image82.jpeg" Type="http://schemas.openxmlformats.org/officeDocument/2006/relationships/image"/><Relationship Id="rId20" Target="../media/image86.png" Type="http://schemas.openxmlformats.org/officeDocument/2006/relationships/image"/><Relationship Id="rId1" Target="../slideLayouts/slideLayout10.xml" Type="http://schemas.openxmlformats.org/officeDocument/2006/relationships/slideLayout"/><Relationship Id="rId6" Target="../media/image72.jpeg" Type="http://schemas.openxmlformats.org/officeDocument/2006/relationships/image"/><Relationship Id="rId11" Target="../media/image77.jpeg" Type="http://schemas.openxmlformats.org/officeDocument/2006/relationships/image"/><Relationship Id="rId5" Target="../media/image71.jpeg" Type="http://schemas.openxmlformats.org/officeDocument/2006/relationships/image"/><Relationship Id="rId15" Target="../media/image81.jpeg" Type="http://schemas.openxmlformats.org/officeDocument/2006/relationships/image"/><Relationship Id="rId10" Target="../media/image76.jpeg" Type="http://schemas.openxmlformats.org/officeDocument/2006/relationships/image"/><Relationship Id="rId19" Target="../media/image85.jpeg" Type="http://schemas.openxmlformats.org/officeDocument/2006/relationships/image"/><Relationship Id="rId4" Target="../media/image70.jpeg" Type="http://schemas.openxmlformats.org/officeDocument/2006/relationships/image"/><Relationship Id="rId9" Target="../media/image75.jpeg" Type="http://schemas.openxmlformats.org/officeDocument/2006/relationships/image"/><Relationship Id="rId14" Target="../media/image80.jpeg" Type="http://schemas.openxmlformats.org/officeDocument/2006/relationships/image"/></Relationships>
</file>

<file path=ppt/slides/_rels/slide21.xml.rels><?xml version="1.0" encoding="UTF-8" standalone="yes" ?><Relationships xmlns="http://schemas.openxmlformats.org/package/2006/relationships"><Relationship Id="rId8" Target="../media/image94.jpeg" Type="http://schemas.openxmlformats.org/officeDocument/2006/relationships/image"/><Relationship Id="rId13" Target="../media/image99.png" Type="http://schemas.openxmlformats.org/officeDocument/2006/relationships/image"/><Relationship Id="rId18" Target="../media/image104.png" Type="http://schemas.openxmlformats.org/officeDocument/2006/relationships/image"/><Relationship Id="rId3" Target="../media/image89.jpeg" Type="http://schemas.openxmlformats.org/officeDocument/2006/relationships/image"/><Relationship Id="rId7" Target="../media/image93.jpeg" Type="http://schemas.openxmlformats.org/officeDocument/2006/relationships/image"/><Relationship Id="rId12" Target="../media/image98.jpeg" Type="http://schemas.openxmlformats.org/officeDocument/2006/relationships/image"/><Relationship Id="rId17" Target="../media/image103.png" Type="http://schemas.openxmlformats.org/officeDocument/2006/relationships/image"/><Relationship Id="rId2" Target="../media/image88.png" Type="http://schemas.openxmlformats.org/officeDocument/2006/relationships/image"/><Relationship Id="rId16" Target="../media/image102.jpeg" Type="http://schemas.openxmlformats.org/officeDocument/2006/relationships/image"/><Relationship Id="rId1" Target="../slideLayouts/slideLayout9.xml" Type="http://schemas.openxmlformats.org/officeDocument/2006/relationships/slideLayout"/><Relationship Id="rId6" Target="../media/image92.jpeg" Type="http://schemas.openxmlformats.org/officeDocument/2006/relationships/image"/><Relationship Id="rId11" Target="../media/image97.jpeg" Type="http://schemas.openxmlformats.org/officeDocument/2006/relationships/image"/><Relationship Id="rId5" Target="../media/image91.jpeg" Type="http://schemas.openxmlformats.org/officeDocument/2006/relationships/image"/><Relationship Id="rId15" Target="../media/image101.jpeg" Type="http://schemas.openxmlformats.org/officeDocument/2006/relationships/image"/><Relationship Id="rId10" Target="../media/image96.jpeg" Type="http://schemas.openxmlformats.org/officeDocument/2006/relationships/image"/><Relationship Id="rId4" Target="../media/image90.jpeg" Type="http://schemas.openxmlformats.org/officeDocument/2006/relationships/image"/><Relationship Id="rId9" Target="../media/image95.jpeg" Type="http://schemas.openxmlformats.org/officeDocument/2006/relationships/image"/><Relationship Id="rId14" Target="../media/image100.jpeg" Type="http://schemas.openxmlformats.org/officeDocument/2006/relationships/image"/></Relationships>
</file>

<file path=ppt/slides/_rels/slide22.xml.rels><?xml version="1.0" encoding="UTF-8" standalone="yes" ?><Relationships xmlns="http://schemas.openxmlformats.org/package/2006/relationships"><Relationship Id="rId8" Target="../media/image111.png" Type="http://schemas.openxmlformats.org/officeDocument/2006/relationships/image"/><Relationship Id="rId13" Target="../media/image116.png" Type="http://schemas.openxmlformats.org/officeDocument/2006/relationships/image"/><Relationship Id="rId18" Target="../media/image121.png" Type="http://schemas.openxmlformats.org/officeDocument/2006/relationships/image"/><Relationship Id="rId26" Target="../media/image129.png" Type="http://schemas.openxmlformats.org/officeDocument/2006/relationships/image"/><Relationship Id="rId39" Target="../media/image142.jpeg" Type="http://schemas.openxmlformats.org/officeDocument/2006/relationships/image"/><Relationship Id="rId3" Target="../media/image106.png" Type="http://schemas.openxmlformats.org/officeDocument/2006/relationships/image"/><Relationship Id="rId21" Target="../media/image124.png" Type="http://schemas.openxmlformats.org/officeDocument/2006/relationships/image"/><Relationship Id="rId34" Target="../media/image137.jpeg" Type="http://schemas.openxmlformats.org/officeDocument/2006/relationships/image"/><Relationship Id="rId42" Target="../media/image145.jpeg" Type="http://schemas.openxmlformats.org/officeDocument/2006/relationships/image"/><Relationship Id="rId47" Target="../media/image150.jpeg" Type="http://schemas.openxmlformats.org/officeDocument/2006/relationships/image"/><Relationship Id="rId7" Target="../media/image110.png" Type="http://schemas.openxmlformats.org/officeDocument/2006/relationships/image"/><Relationship Id="rId12" Target="../media/image115.jpeg" Type="http://schemas.openxmlformats.org/officeDocument/2006/relationships/image"/><Relationship Id="rId17" Target="../media/image120.png" Type="http://schemas.openxmlformats.org/officeDocument/2006/relationships/image"/><Relationship Id="rId25" Target="../media/image128.png" Type="http://schemas.openxmlformats.org/officeDocument/2006/relationships/image"/><Relationship Id="rId33" Target="../media/image136.png" Type="http://schemas.openxmlformats.org/officeDocument/2006/relationships/image"/><Relationship Id="rId38" Target="../media/image141.jpeg" Type="http://schemas.openxmlformats.org/officeDocument/2006/relationships/image"/><Relationship Id="rId46" Target="../media/image149.jpeg" Type="http://schemas.openxmlformats.org/officeDocument/2006/relationships/image"/><Relationship Id="rId2" Target="../media/image105.png" Type="http://schemas.openxmlformats.org/officeDocument/2006/relationships/image"/><Relationship Id="rId16" Target="../media/image119.png" Type="http://schemas.openxmlformats.org/officeDocument/2006/relationships/image"/><Relationship Id="rId20" Target="../media/image123.png" Type="http://schemas.openxmlformats.org/officeDocument/2006/relationships/image"/><Relationship Id="rId29" Target="../media/image132.png" Type="http://schemas.openxmlformats.org/officeDocument/2006/relationships/image"/><Relationship Id="rId41" Target="../media/image144.jpeg" Type="http://schemas.openxmlformats.org/officeDocument/2006/relationships/image"/><Relationship Id="rId1" Target="../slideLayouts/slideLayout9.xml" Type="http://schemas.openxmlformats.org/officeDocument/2006/relationships/slideLayout"/><Relationship Id="rId6" Target="../media/image109.png" Type="http://schemas.openxmlformats.org/officeDocument/2006/relationships/image"/><Relationship Id="rId11" Target="../media/image114.png" Type="http://schemas.openxmlformats.org/officeDocument/2006/relationships/image"/><Relationship Id="rId24" Target="../media/image127.png" Type="http://schemas.openxmlformats.org/officeDocument/2006/relationships/image"/><Relationship Id="rId32" Target="../media/image135.png" Type="http://schemas.openxmlformats.org/officeDocument/2006/relationships/image"/><Relationship Id="rId37" Target="../media/image140.jpeg" Type="http://schemas.openxmlformats.org/officeDocument/2006/relationships/image"/><Relationship Id="rId40" Target="../media/image143.jpeg" Type="http://schemas.openxmlformats.org/officeDocument/2006/relationships/image"/><Relationship Id="rId45" Target="../media/image148.png" Type="http://schemas.openxmlformats.org/officeDocument/2006/relationships/image"/><Relationship Id="rId5" Target="../media/image108.jpeg" Type="http://schemas.openxmlformats.org/officeDocument/2006/relationships/image"/><Relationship Id="rId15" Target="../media/image118.png" Type="http://schemas.openxmlformats.org/officeDocument/2006/relationships/image"/><Relationship Id="rId23" Target="../media/image126.png" Type="http://schemas.openxmlformats.org/officeDocument/2006/relationships/image"/><Relationship Id="rId28" Target="../media/image131.jpeg" Type="http://schemas.openxmlformats.org/officeDocument/2006/relationships/image"/><Relationship Id="rId36" Target="../media/image139.jpeg" Type="http://schemas.openxmlformats.org/officeDocument/2006/relationships/image"/><Relationship Id="rId10" Target="../media/image113.png" Type="http://schemas.openxmlformats.org/officeDocument/2006/relationships/image"/><Relationship Id="rId19" Target="../media/image122.png" Type="http://schemas.openxmlformats.org/officeDocument/2006/relationships/image"/><Relationship Id="rId31" Target="../media/image134.png" Type="http://schemas.openxmlformats.org/officeDocument/2006/relationships/image"/><Relationship Id="rId44" Target="../media/image147.jpeg" Type="http://schemas.openxmlformats.org/officeDocument/2006/relationships/image"/><Relationship Id="rId4" Target="../media/image107.png" Type="http://schemas.openxmlformats.org/officeDocument/2006/relationships/image"/><Relationship Id="rId9" Target="../media/image112.png" Type="http://schemas.openxmlformats.org/officeDocument/2006/relationships/image"/><Relationship Id="rId14" Target="../media/image117.png" Type="http://schemas.openxmlformats.org/officeDocument/2006/relationships/image"/><Relationship Id="rId22" Target="../media/image125.png" Type="http://schemas.openxmlformats.org/officeDocument/2006/relationships/image"/><Relationship Id="rId27" Target="../media/image130.png" Type="http://schemas.openxmlformats.org/officeDocument/2006/relationships/image"/><Relationship Id="rId30" Target="../media/image133.png" Type="http://schemas.openxmlformats.org/officeDocument/2006/relationships/image"/><Relationship Id="rId35" Target="../media/image138.jpeg" Type="http://schemas.openxmlformats.org/officeDocument/2006/relationships/image"/><Relationship Id="rId43" Target="../media/image146.jpeg" Type="http://schemas.openxmlformats.org/officeDocument/2006/relationships/image"/></Relationships>
</file>

<file path=ppt/slides/_rels/slide23.xml.rels><?xml version="1.0" encoding="UTF-8" standalone="yes" ?><Relationships xmlns="http://schemas.openxmlformats.org/package/2006/relationships"><Relationship Id="rId8" Target="../media/image157.png" Type="http://schemas.openxmlformats.org/officeDocument/2006/relationships/image"/><Relationship Id="rId13" Target="../media/image161.png" Type="http://schemas.openxmlformats.org/officeDocument/2006/relationships/image"/><Relationship Id="rId18" Target="../media/image166.jpeg" Type="http://schemas.openxmlformats.org/officeDocument/2006/relationships/image"/><Relationship Id="rId26" Target="../media/image173.png" Type="http://schemas.openxmlformats.org/officeDocument/2006/relationships/image"/><Relationship Id="rId39" Target="../media/image186.png" Type="http://schemas.openxmlformats.org/officeDocument/2006/relationships/image"/><Relationship Id="rId3" Target="../media/image152.png" Type="http://schemas.openxmlformats.org/officeDocument/2006/relationships/image"/><Relationship Id="rId21" Target="../media/image169.png" Type="http://schemas.openxmlformats.org/officeDocument/2006/relationships/image"/><Relationship Id="rId34" Target="../media/image181.png" Type="http://schemas.openxmlformats.org/officeDocument/2006/relationships/image"/><Relationship Id="rId42" Target="../media/image106.png" Type="http://schemas.openxmlformats.org/officeDocument/2006/relationships/image"/><Relationship Id="rId7" Target="../media/image156.png" Type="http://schemas.openxmlformats.org/officeDocument/2006/relationships/image"/><Relationship Id="rId12" Target="../media/image112.png" Type="http://schemas.openxmlformats.org/officeDocument/2006/relationships/image"/><Relationship Id="rId17" Target="../media/image165.jpeg" Type="http://schemas.openxmlformats.org/officeDocument/2006/relationships/image"/><Relationship Id="rId25" Target="../media/image172.jpeg" Type="http://schemas.openxmlformats.org/officeDocument/2006/relationships/image"/><Relationship Id="rId33" Target="../media/image180.png" Type="http://schemas.openxmlformats.org/officeDocument/2006/relationships/image"/><Relationship Id="rId38" Target="../media/image185.png" Type="http://schemas.openxmlformats.org/officeDocument/2006/relationships/image"/><Relationship Id="rId2" Target="../media/image151.png" Type="http://schemas.openxmlformats.org/officeDocument/2006/relationships/image"/><Relationship Id="rId16" Target="../media/image164.jpeg" Type="http://schemas.openxmlformats.org/officeDocument/2006/relationships/image"/><Relationship Id="rId20" Target="../media/image168.jpeg" Type="http://schemas.openxmlformats.org/officeDocument/2006/relationships/image"/><Relationship Id="rId29" Target="../media/image176.png" Type="http://schemas.openxmlformats.org/officeDocument/2006/relationships/image"/><Relationship Id="rId41" Target="../media/image188.jpeg" Type="http://schemas.openxmlformats.org/officeDocument/2006/relationships/image"/><Relationship Id="rId1" Target="../slideLayouts/slideLayout9.xml" Type="http://schemas.openxmlformats.org/officeDocument/2006/relationships/slideLayout"/><Relationship Id="rId6" Target="../media/image155.png" Type="http://schemas.openxmlformats.org/officeDocument/2006/relationships/image"/><Relationship Id="rId11" Target="../media/image160.png" Type="http://schemas.openxmlformats.org/officeDocument/2006/relationships/image"/><Relationship Id="rId24" Target="../media/image129.png" Type="http://schemas.openxmlformats.org/officeDocument/2006/relationships/image"/><Relationship Id="rId32" Target="../media/image179.png" Type="http://schemas.openxmlformats.org/officeDocument/2006/relationships/image"/><Relationship Id="rId37" Target="../media/image184.png" Type="http://schemas.openxmlformats.org/officeDocument/2006/relationships/image"/><Relationship Id="rId40" Target="../media/image187.png" Type="http://schemas.openxmlformats.org/officeDocument/2006/relationships/image"/><Relationship Id="rId5" Target="../media/image154.png" Type="http://schemas.openxmlformats.org/officeDocument/2006/relationships/image"/><Relationship Id="rId15" Target="../media/image163.jpeg" Type="http://schemas.openxmlformats.org/officeDocument/2006/relationships/image"/><Relationship Id="rId23" Target="../media/image171.png" Type="http://schemas.openxmlformats.org/officeDocument/2006/relationships/image"/><Relationship Id="rId28" Target="../media/image175.png" Type="http://schemas.openxmlformats.org/officeDocument/2006/relationships/image"/><Relationship Id="rId36" Target="../media/image183.jpeg" Type="http://schemas.openxmlformats.org/officeDocument/2006/relationships/image"/><Relationship Id="rId10" Target="../media/image159.jpeg" Type="http://schemas.openxmlformats.org/officeDocument/2006/relationships/image"/><Relationship Id="rId19" Target="../media/image167.png" Type="http://schemas.openxmlformats.org/officeDocument/2006/relationships/image"/><Relationship Id="rId31" Target="../media/image178.png" Type="http://schemas.openxmlformats.org/officeDocument/2006/relationships/image"/><Relationship Id="rId4" Target="../media/image153.jpeg" Type="http://schemas.openxmlformats.org/officeDocument/2006/relationships/image"/><Relationship Id="rId9" Target="../media/image158.png" Type="http://schemas.openxmlformats.org/officeDocument/2006/relationships/image"/><Relationship Id="rId14" Target="../media/image162.jpeg" Type="http://schemas.openxmlformats.org/officeDocument/2006/relationships/image"/><Relationship Id="rId22" Target="../media/image170.png" Type="http://schemas.openxmlformats.org/officeDocument/2006/relationships/image"/><Relationship Id="rId27" Target="../media/image174.png" Type="http://schemas.openxmlformats.org/officeDocument/2006/relationships/image"/><Relationship Id="rId30" Target="../media/image177.jpeg" Type="http://schemas.openxmlformats.org/officeDocument/2006/relationships/image"/><Relationship Id="rId35" Target="../media/image182.png" Type="http://schemas.openxmlformats.org/officeDocument/2006/relationships/image"/><Relationship Id="rId43" Target="../media/image107.png" Type="http://schemas.openxmlformats.org/officeDocument/2006/relationships/image"/></Relationships>
</file>

<file path=ppt/slides/_rels/slide24.xml.rels><?xml version="1.0" encoding="UTF-8" standalone="yes" ?><Relationships xmlns="http://schemas.openxmlformats.org/package/2006/relationships"><Relationship Id="rId3" Target="../media/image190.png" Type="http://schemas.openxmlformats.org/officeDocument/2006/relationships/image"/><Relationship Id="rId2" Target="../media/image189.png" Type="http://schemas.openxmlformats.org/officeDocument/2006/relationships/image"/><Relationship Id="rId1" Target="../slideLayouts/slideLayout7.xml" Type="http://schemas.openxmlformats.org/officeDocument/2006/relationships/slideLayout"/><Relationship Id="rId5" Target="../media/image192.jpeg" Type="http://schemas.openxmlformats.org/officeDocument/2006/relationships/image"/><Relationship Id="rId4" Target="../media/image191.jpeg" Type="http://schemas.openxmlformats.org/officeDocument/2006/relationships/image"/></Relationships>
</file>

<file path=ppt/slides/_rels/slide25.xml.rels><?xml version="1.0" encoding="UTF-8" standalone="yes" ?><Relationships xmlns="http://schemas.openxmlformats.org/package/2006/relationships"><Relationship Id="rId8" Target="../media/image192.jpeg" Type="http://schemas.openxmlformats.org/officeDocument/2006/relationships/image"/><Relationship Id="rId3" Target="../media/image194.png" Type="http://schemas.openxmlformats.org/officeDocument/2006/relationships/image"/><Relationship Id="rId7" Target="../media/image198.jpeg" Type="http://schemas.openxmlformats.org/officeDocument/2006/relationships/image"/><Relationship Id="rId2" Target="../media/image193.pn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197.jpeg" Type="http://schemas.openxmlformats.org/officeDocument/2006/relationships/image"/><Relationship Id="rId5" Target="../media/image196.jpeg" Type="http://schemas.openxmlformats.org/officeDocument/2006/relationships/image"/><Relationship Id="rId4" Target="../media/image195.jpeg" Type="http://schemas.openxmlformats.org/officeDocument/2006/relationships/image"/></Relationships>
</file>

<file path=ppt/slides/_rels/slide26.xml.rels><?xml version="1.0" encoding="UTF-8" standalone="yes" ?><Relationships xmlns="http://schemas.openxmlformats.org/package/2006/relationships"><Relationship Id="rId3" Target="../media/image12.emf" Type="http://schemas.openxmlformats.org/officeDocument/2006/relationships/image"/><Relationship Id="rId2" Target="../slideLayouts/slideLayout5.xml" Type="http://schemas.openxmlformats.org/officeDocument/2006/relationships/slideLayout"/><Relationship Id="rId1" Target="../tags/tag14.xml" Type="http://schemas.openxmlformats.org/officeDocument/2006/relationships/tags"/><Relationship Id="rId4" Target="../media/image12.emf" Type="http://schemas.openxmlformats.org/officeDocument/2006/relationships/image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2.png"/><Relationship Id="rId4" Type="http://schemas.openxmlformats.org/officeDocument/2006/relationships/image" Target="../media/image20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2.png"/><Relationship Id="rId4" Type="http://schemas.openxmlformats.org/officeDocument/2006/relationships/image" Target="../media/image20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2.png"/><Relationship Id="rId4" Type="http://schemas.openxmlformats.org/officeDocument/2006/relationships/image" Target="../media/image20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 ?><Relationships xmlns="http://schemas.openxmlformats.org/package/2006/relationships"><Relationship Id="rId3" Target="../media/image12.emf" Type="http://schemas.openxmlformats.org/officeDocument/2006/relationships/image"/><Relationship Id="rId2" Target="../slideLayouts/slideLayout5.xml" Type="http://schemas.openxmlformats.org/officeDocument/2006/relationships/slideLayout"/><Relationship Id="rId1" Target="../tags/tag15.xml" Type="http://schemas.openxmlformats.org/officeDocument/2006/relationships/tags"/><Relationship Id="rId4" Target="../media/image12.emf" Type="http://schemas.openxmlformats.org/officeDocument/2006/relationships/image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6.png"/><Relationship Id="rId4" Type="http://schemas.openxmlformats.org/officeDocument/2006/relationships/image" Target="../media/image20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2" Type="http://schemas.openxmlformats.org/officeDocument/2006/relationships/image" Target="../media/image20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10.png"/><Relationship Id="rId4" Type="http://schemas.openxmlformats.org/officeDocument/2006/relationships/image" Target="../media/image209.png"/></Relationships>
</file>

<file path=ppt/slides/_rels/slide4.xml.rels><?xml version="1.0" encoding="UTF-8" standalone="yes" ?><Relationships xmlns="http://schemas.openxmlformats.org/package/2006/relationships"><Relationship Id="rId3" Target="../notesSlides/notesSlide1.xml" Type="http://schemas.openxmlformats.org/officeDocument/2006/relationships/notesSlide"/><Relationship Id="rId2" Target="../slideLayouts/slideLayout19.xml" Type="http://schemas.openxmlformats.org/officeDocument/2006/relationships/slideLayout"/><Relationship Id="rId1" Target="../tags/tag13.xml" Type="http://schemas.openxmlformats.org/officeDocument/2006/relationships/tags"/><Relationship Id="rId5" Target="../media/image12.emf" Type="http://schemas.openxmlformats.org/officeDocument/2006/relationships/image"/><Relationship Id="rId4" Target="../media/image12.emf" Type="http://schemas.openxmlformats.org/officeDocument/2006/relationships/image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 ?><Relationships xmlns="http://schemas.openxmlformats.org/package/2006/relationships"><Relationship Id="rId8" Target="../media/image21.png" Type="http://schemas.openxmlformats.org/officeDocument/2006/relationships/image"/><Relationship Id="rId3" Target="../media/image18.png" Type="http://schemas.openxmlformats.org/officeDocument/2006/relationships/image"/><Relationship Id="rId7" Target="../media/hdphoto2.wdp" Type="http://schemas.microsoft.com/office/2007/relationships/hdphoto"/><Relationship Id="rId2" Target="../media/image17.pn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20.png" Type="http://schemas.openxmlformats.org/officeDocument/2006/relationships/image"/><Relationship Id="rId11" Target="../media/image24.png" Type="http://schemas.openxmlformats.org/officeDocument/2006/relationships/image"/><Relationship Id="rId5" Target="../media/hdphoto1.wdp" Type="http://schemas.microsoft.com/office/2007/relationships/hdphoto"/><Relationship Id="rId10" Target="../media/image23.png" Type="http://schemas.openxmlformats.org/officeDocument/2006/relationships/image"/><Relationship Id="rId4" Target="../media/image19.png" Type="http://schemas.openxmlformats.org/officeDocument/2006/relationships/image"/><Relationship Id="rId9" Target="../media/image22.png" Type="http://schemas.openxmlformats.org/officeDocument/2006/relationships/image"/></Relationships>
</file>

<file path=ppt/slides/_rels/slide7.xml.rels><?xml version="1.0" encoding="UTF-8" standalone="yes" ?><Relationships xmlns="http://schemas.openxmlformats.org/package/2006/relationships"><Relationship Id="rId8" Target="../media/image22.png" Type="http://schemas.openxmlformats.org/officeDocument/2006/relationships/image"/><Relationship Id="rId3" Target="../media/image26.png" Type="http://schemas.openxmlformats.org/officeDocument/2006/relationships/image"/><Relationship Id="rId7" Target="../media/hdphoto2.wdp" Type="http://schemas.microsoft.com/office/2007/relationships/hdphoto"/><Relationship Id="rId2" Target="../media/image25.png" Type="http://schemas.openxmlformats.org/officeDocument/2006/relationships/image"/><Relationship Id="rId1" Target="../slideLayouts/slideLayout7.xml" Type="http://schemas.openxmlformats.org/officeDocument/2006/relationships/slideLayout"/><Relationship Id="rId6" Target="../media/image20.png" Type="http://schemas.openxmlformats.org/officeDocument/2006/relationships/image"/><Relationship Id="rId5" Target="../media/hdphoto1.wdp" Type="http://schemas.microsoft.com/office/2007/relationships/hdphoto"/><Relationship Id="rId10" Target="../media/image28.png" Type="http://schemas.openxmlformats.org/officeDocument/2006/relationships/image"/><Relationship Id="rId4" Target="../media/image19.png" Type="http://schemas.openxmlformats.org/officeDocument/2006/relationships/image"/><Relationship Id="rId9" Target="../media/image27.png" Type="http://schemas.openxmlformats.org/officeDocument/2006/relationships/image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 ?><Relationships xmlns="http://schemas.openxmlformats.org/package/2006/relationships"><Relationship Id="rId3" Target="../media/image29.jpeg" Type="http://schemas.openxmlformats.org/officeDocument/2006/relationships/image"/><Relationship Id="rId2" Target="../notesSlides/notesSlide2.xml" Type="http://schemas.openxmlformats.org/officeDocument/2006/relationships/notesSlide"/><Relationship Id="rId1" Target="../slideLayouts/slideLayout10.xml" Type="http://schemas.openxmlformats.org/officeDocument/2006/relationships/slideLayout"/><Relationship Id="rId6" Target="../media/image32.jpeg" Type="http://schemas.openxmlformats.org/officeDocument/2006/relationships/image"/><Relationship Id="rId5" Target="../media/image31.jpeg" Type="http://schemas.openxmlformats.org/officeDocument/2006/relationships/image"/><Relationship Id="rId4" Target="../media/image30.jpeg" Type="http://schemas.openxmlformats.org/officeDocument/2006/relationships/image"/></Relationships>
</file>

<file path=ppt/slides/slide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E1D26FC-380D-1982-D3D6-FE7B3AF6E490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2" t="117"/>
          <a:stretch/>
        </p:blipFill>
        <p:spPr>
          <a:xfrm>
            <a:off x="0" y="0"/>
            <a:ext cx="12191638" cy="62737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D68D798-D85B-43F4-8D55-7E2F22C5781F}"/>
              </a:ext>
            </a:extLst>
          </p:cNvPr>
          <p:cNvSpPr/>
          <p:nvPr/>
        </p:nvSpPr>
        <p:spPr>
          <a:xfrm>
            <a:off x="0" y="-1"/>
            <a:ext cx="12192000" cy="6273799"/>
          </a:xfrm>
          <a:prstGeom prst="rect">
            <a:avLst/>
          </a:prstGeom>
          <a:gradFill>
            <a:gsLst>
              <a:gs pos="0">
                <a:schemeClr val="tx1">
                  <a:alpha val="90000"/>
                </a:schemeClr>
              </a:gs>
              <a:gs pos="64000">
                <a:srgbClr val="28313F">
                  <a:alpha val="25000"/>
                </a:srgbClr>
              </a:gs>
              <a:gs pos="100000">
                <a:schemeClr val="tx1">
                  <a:alpha val="76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BE2C7F-4F8A-4D25-9DD8-FEBA0A3051B9}"/>
              </a:ext>
            </a:extLst>
          </p:cNvPr>
          <p:cNvSpPr/>
          <p:nvPr/>
        </p:nvSpPr>
        <p:spPr>
          <a:xfrm>
            <a:off x="0" y="0"/>
            <a:ext cx="12192000" cy="3543300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76250"/>
            <a:ext cx="11233150" cy="1169582"/>
          </a:xfrm>
        </p:spPr>
        <p:txBody>
          <a:bodyPr/>
          <a:lstStyle/>
          <a:p>
            <a:r>
              <a:rPr b="0" lang="en-US" sz="1800">
                <a:solidFill>
                  <a:schemeClr val="bg1"/>
                </a:solidFill>
                <a:latin charset="0" panose="02000000000000000000" pitchFamily="2" typeface="Roboto"/>
              </a:rPr>
              <a:t>VHS010-VHS011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The mini industrial vacuums range</a:t>
            </a:r>
            <a:endParaRPr dirty="0" lang="en-US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0686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24B920A-F5ED-2F19-FAEA-E8A2BEEF8708}"/>
              </a:ext>
            </a:extLst>
          </p:cNvPr>
          <p:cNvSpPr>
            <a:spLocks noGrp="1"/>
          </p:cNvSpPr>
          <p:nvPr>
            <p:ph idx="18" sz="quarter"/>
          </p:nvPr>
        </p:nvSpPr>
        <p:spPr>
          <a:xfrm>
            <a:off x="479425" y="1434164"/>
            <a:ext cx="2586038" cy="4603109"/>
          </a:xfrm>
        </p:spPr>
        <p:txBody>
          <a:bodyPr lIns="108000" rIns="108000" tIns="2194560"/>
          <a:lstStyle/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Final product packed in direct contact with its packaging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Job-To-Be-Done for VHS011 LC Z22: floor clean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1B4971-9BF9-39AB-FFEE-69FFBC5C4A01}"/>
              </a:ext>
            </a:extLst>
          </p:cNvPr>
          <p:cNvSpPr>
            <a:spLocks noGrp="1"/>
          </p:cNvSpPr>
          <p:nvPr>
            <p:ph idx="13" sz="quarter" type="body"/>
          </p:nvPr>
        </p:nvSpPr>
        <p:spPr>
          <a:xfrm>
            <a:off x="479425" y="2920778"/>
            <a:ext cx="2586038" cy="775354"/>
          </a:xfrm>
        </p:spPr>
        <p:txBody>
          <a:bodyPr lIns="180000" rIns="180000" tIns="108000"/>
          <a:lstStyle/>
          <a:p>
            <a:pPr algn="l" defTabSz="1349375" eaLnBrk="1" fontAlgn="auto" hangingPunct="1" indent="0" latinLnBrk="0" lvl="0" marL="0" marR="0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>
                <a:tab algn="l" pos="263525"/>
              </a:tabLst>
              <a:defRPr/>
            </a:pPr>
            <a:r>
              <a:rPr b="1" baseline="0" cap="none" i="0" kern="1200" kumimoji="0" lang="en-US" noProof="0" normalizeH="0" spc="0" strike="noStrike" sz="1100" u="none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charset="0" panose="050A0102010101010101" pitchFamily="18" typeface="Segoe MDL2 Assets"/>
                <a:ea typeface="+mn-ea"/>
                <a:cs typeface="+mn-cs"/>
              </a:rPr>
              <a:t> </a:t>
            </a:r>
            <a:r>
              <a:rPr lang="en-US" sz="1100">
                <a:solidFill>
                  <a:srgbClr val="38AFD9"/>
                </a:solidFill>
                <a:latin typeface="Roboto Bold"/>
              </a:rPr>
              <a:t>	</a:t>
            </a:r>
            <a:r>
              <a:rPr b="1" baseline="0" cap="none" i="0" kern="1200" kumimoji="0" lang="en-US" noProof="0" normalizeH="0" spc="0" strike="noStrike" sz="1100" u="none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Primary packaging </a:t>
            </a:r>
            <a:br>
              <a:rPr b="1" baseline="0" cap="none" i="0" kern="1200" kumimoji="0" lang="en-US" noProof="0" normalizeH="0" spc="0" strike="noStrike" sz="1100" u="none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</a:br>
            <a:r>
              <a:rPr b="1" baseline="0" cap="none" i="0" kern="1200" kumimoji="0" lang="en-US" noProof="0" normalizeH="0" spc="0" strike="noStrike" sz="1100" u="none">
                <a:ln>
                  <a:noFill/>
                </a:ln>
                <a:solidFill>
                  <a:srgbClr val="38AFD9"/>
                </a:solidFill>
                <a:effectLst/>
                <a:uLnTx/>
                <a:uFillTx/>
                <a:latin typeface="Roboto Bold"/>
                <a:ea typeface="+mn-ea"/>
                <a:cs typeface="+mn-cs"/>
              </a:rPr>
              <a:t>	classified zone</a:t>
            </a:r>
            <a:endParaRPr b="1" baseline="0" cap="none" i="0" kern="1200" kumimoji="0" lang="en-US" noProof="0" normalizeH="0" spc="0" strike="noStrike" sz="1200" u="none">
              <a:ln>
                <a:noFill/>
              </a:ln>
              <a:solidFill>
                <a:srgbClr val="F47358"/>
              </a:solidFill>
              <a:effectLst/>
              <a:uLnTx/>
              <a:uFillTx/>
              <a:latin typeface="Roboto Bold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23597-D01F-EE17-9E73-408368DF130C}"/>
              </a:ext>
            </a:extLst>
          </p:cNvPr>
          <p:cNvSpPr>
            <a:spLocks noGrp="1"/>
          </p:cNvSpPr>
          <p:nvPr>
            <p:ph idx="30" sz="quarter" type="ftr"/>
          </p:nvPr>
        </p:nvSpPr>
        <p:spPr/>
        <p:txBody>
          <a:bodyPr/>
          <a:lstStyle/>
          <a:p>
            <a:pPr algn="l"/>
            <a:r>
              <a:rPr dirty="0"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65ECBA-F317-A48D-27DF-51F07A786FE0}"/>
              </a:ext>
            </a:extLst>
          </p:cNvPr>
          <p:cNvSpPr>
            <a:spLocks noGrp="1"/>
          </p:cNvSpPr>
          <p:nvPr>
            <p:ph idx="3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A066F9-EA08-E0E1-591B-AC4340376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8847455" cy="388013"/>
          </a:xfrm>
        </p:spPr>
        <p:txBody>
          <a:bodyPr/>
          <a:lstStyle/>
          <a:p>
            <a:r>
              <a:rPr lang="en-US"/>
              <a:t>Food industry application focus</a:t>
            </a:r>
          </a:p>
        </p:txBody>
      </p:sp>
      <p:pic>
        <p:nvPicPr>
          <p:cNvPr descr="Immagine che contiene vestiti, macchina, ingegneria, interno&#10;&#10;Descrizione generata automaticamente" id="2" name="Immagine 1">
            <a:extLst>
              <a:ext uri="{FF2B5EF4-FFF2-40B4-BE49-F238E27FC236}">
                <a16:creationId xmlns:a16="http://schemas.microsoft.com/office/drawing/2014/main" id="{A199CFE7-C3D5-EC52-8BA5-88ECC0ED1AE7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57" t="406"/>
          <a:stretch/>
        </p:blipFill>
        <p:spPr>
          <a:xfrm>
            <a:off x="479329" y="1438713"/>
            <a:ext cx="2586134" cy="1475874"/>
          </a:xfrm>
          <a:prstGeom prst="rect">
            <a:avLst/>
          </a:prstGeom>
        </p:spPr>
      </p:pic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A6A5504-20D8-619B-0EFD-E20242CE4D6A}"/>
              </a:ext>
            </a:extLst>
          </p:cNvPr>
          <p:cNvSpPr txBox="1">
            <a:spLocks/>
          </p:cNvSpPr>
          <p:nvPr/>
        </p:nvSpPr>
        <p:spPr>
          <a:xfrm>
            <a:off x="475521" y="873877"/>
            <a:ext cx="11235102" cy="376456"/>
          </a:xfrm>
          <a:prstGeom prst="rect">
            <a:avLst/>
          </a:prstGeom>
        </p:spPr>
        <p:txBody>
          <a:bodyPr bIns="0" lIns="0" rIns="0" rtlCol="0" tIns="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0" latinLnBrk="0" marL="199104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Jobs to be done / relevant areas</a:t>
            </a:r>
            <a:endParaRPr dirty="0"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79694B-3FC7-3F5E-8CB3-D3C2E6D4671F}"/>
              </a:ext>
            </a:extLst>
          </p:cNvPr>
          <p:cNvGrpSpPr/>
          <p:nvPr/>
        </p:nvGrpSpPr>
        <p:grpSpPr>
          <a:xfrm>
            <a:off x="11078038" y="494490"/>
            <a:ext cx="648000" cy="648000"/>
            <a:chOff x="5400128" y="2125855"/>
            <a:chExt cx="597389" cy="597389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3A79068-BB50-30EC-4D7F-724CD6E812F8}"/>
                </a:ext>
              </a:extLst>
            </p:cNvPr>
            <p:cNvSpPr/>
            <p:nvPr/>
          </p:nvSpPr>
          <p:spPr>
            <a:xfrm>
              <a:off x="5400128" y="212585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74DD6DD8-47FF-E473-2D4B-961C8EAAFC9D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545938" y="2247637"/>
              <a:ext cx="305768" cy="266734"/>
            </a:xfrm>
            <a:prstGeom prst="rect">
              <a:avLst/>
            </a:prstGeom>
          </p:spPr>
        </p:pic>
      </p:grp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B7F4B913-8AB1-4005-C4DF-C5EB90479837}"/>
              </a:ext>
            </a:extLst>
          </p:cNvPr>
          <p:cNvSpPr txBox="1">
            <a:spLocks/>
          </p:cNvSpPr>
          <p:nvPr/>
        </p:nvSpPr>
        <p:spPr>
          <a:xfrm>
            <a:off x="3366283" y="1434164"/>
            <a:ext cx="2586038" cy="4603109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108000" rIns="108000" rtlCol="0" tIns="2194560" vert="horz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dirty="0" kern="1200" lang="en-US" noProof="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dirty="0" kern="1200" lang="en-US" noProof="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dirty="0" kern="1200" lang="en-US" noProof="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dirty="0" kern="1200" lang="en-US" noProof="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dirty="0" kern="1200" lang="en-US" noProof="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Final product packed in direct contact with its packaging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Job-To-Be-Done for VHS011 LC Z22: cleaning packaging lines in narrow spaces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 cleaning of conveyor belts and packaging machine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032186B4-5C81-285E-8EA4-565EC2E54AC4}"/>
              </a:ext>
            </a:extLst>
          </p:cNvPr>
          <p:cNvSpPr txBox="1">
            <a:spLocks/>
          </p:cNvSpPr>
          <p:nvPr/>
        </p:nvSpPr>
        <p:spPr>
          <a:xfrm>
            <a:off x="9140000" y="1434164"/>
            <a:ext cx="2586038" cy="4603109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108000" rIns="108000" rtlCol="0" tIns="2194560" vert="horz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dirty="0" kern="1200" lang="en-US" noProof="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dirty="0" kern="1200" lang="en-US" noProof="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dirty="0" kern="1200" lang="en-US" noProof="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dirty="0" kern="1200" lang="en-US" noProof="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dirty="0" kern="1200" lang="en-US" noProof="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Final product packed in direct contact with its packaging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Job-To-Be-Done for VHS011 LC ACD: cleaning packaging lines in narrow spaces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 cleaning of conveyor belts and packaging machine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CA8DD52E-9B15-7817-2660-7F0AD55B932D}"/>
              </a:ext>
            </a:extLst>
          </p:cNvPr>
          <p:cNvSpPr txBox="1">
            <a:spLocks/>
          </p:cNvSpPr>
          <p:nvPr/>
        </p:nvSpPr>
        <p:spPr>
          <a:xfrm>
            <a:off x="6253141" y="1434164"/>
            <a:ext cx="2586038" cy="4603109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bIns="216000" lIns="108000" rIns="108000" rtlCol="0" tIns="2194560" vert="horz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dirty="0" kern="1200" lang="en-US" noProof="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dirty="0" kern="1200" lang="en-US" noProof="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dirty="0" kern="1200" lang="en-US" noProof="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dirty="0" kern="1200" lang="en-US" noProof="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dirty="0" kern="1200" lang="en-US" noProof="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Final product packed in direct contact with its packaging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Job-To-Be-Done for VHS011 LC ACD: floor cleaning</a:t>
            </a:r>
          </a:p>
        </p:txBody>
      </p:sp>
      <p:pic>
        <p:nvPicPr>
          <p:cNvPr id="35" name="Immagine 51">
            <a:extLst>
              <a:ext uri="{FF2B5EF4-FFF2-40B4-BE49-F238E27FC236}">
                <a16:creationId xmlns:a16="http://schemas.microsoft.com/office/drawing/2014/main" id="{B9FDB104-F665-DCED-66F6-521F448D28DD}"/>
              </a:ext>
            </a:extLst>
          </p:cNvPr>
          <p:cNvPicPr>
            <a:picLocks noChangeAspect="1"/>
          </p:cNvPicPr>
          <p:nvPr/>
        </p:nvPicPr>
        <p:blipFill>
          <a:blip cstate="email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840" y="5514975"/>
            <a:ext cx="340056" cy="275957"/>
          </a:xfrm>
          <a:prstGeom prst="rect">
            <a:avLst/>
          </a:prstGeom>
        </p:spPr>
      </p:pic>
      <p:sp>
        <p:nvSpPr>
          <p:cNvPr id="36" name="CasellaDiTesto 55">
            <a:extLst>
              <a:ext uri="{FF2B5EF4-FFF2-40B4-BE49-F238E27FC236}">
                <a16:creationId xmlns:a16="http://schemas.microsoft.com/office/drawing/2014/main" id="{1A48A088-7DFC-04A2-A066-0A8002CF71E5}"/>
              </a:ext>
            </a:extLst>
          </p:cNvPr>
          <p:cNvSpPr txBox="1"/>
          <p:nvPr/>
        </p:nvSpPr>
        <p:spPr>
          <a:xfrm>
            <a:off x="913876" y="5522148"/>
            <a:ext cx="132700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b="1" dirty="0" lang="en-US" sz="1100">
                <a:solidFill>
                  <a:schemeClr val="accent6"/>
                </a:solidFill>
                <a:latin typeface="+mj-lt"/>
              </a:rPr>
              <a:t>Classified zone</a:t>
            </a:r>
            <a:endParaRPr dirty="0" lang="it-IT">
              <a:solidFill>
                <a:schemeClr val="accent6"/>
              </a:solidFill>
            </a:endParaRPr>
          </a:p>
        </p:txBody>
      </p:sp>
      <p:pic>
        <p:nvPicPr>
          <p:cNvPr id="37" name="Immagine 51">
            <a:extLst>
              <a:ext uri="{FF2B5EF4-FFF2-40B4-BE49-F238E27FC236}">
                <a16:creationId xmlns:a16="http://schemas.microsoft.com/office/drawing/2014/main" id="{5D879AAB-C5A1-DE74-4B6D-EADCEFF16E93}"/>
              </a:ext>
            </a:extLst>
          </p:cNvPr>
          <p:cNvPicPr>
            <a:picLocks noChangeAspect="1"/>
          </p:cNvPicPr>
          <p:nvPr/>
        </p:nvPicPr>
        <p:blipFill>
          <a:blip cstate="email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6246" y="5514975"/>
            <a:ext cx="340056" cy="275957"/>
          </a:xfrm>
          <a:prstGeom prst="rect">
            <a:avLst/>
          </a:prstGeom>
        </p:spPr>
      </p:pic>
      <p:sp>
        <p:nvSpPr>
          <p:cNvPr id="38" name="CasellaDiTesto 55">
            <a:extLst>
              <a:ext uri="{FF2B5EF4-FFF2-40B4-BE49-F238E27FC236}">
                <a16:creationId xmlns:a16="http://schemas.microsoft.com/office/drawing/2014/main" id="{957C6ABB-BE7B-E460-E03A-3352DB6564C1}"/>
              </a:ext>
            </a:extLst>
          </p:cNvPr>
          <p:cNvSpPr txBox="1"/>
          <p:nvPr/>
        </p:nvSpPr>
        <p:spPr>
          <a:xfrm>
            <a:off x="3829282" y="5522148"/>
            <a:ext cx="132700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dirty="0" lang="en-US" sz="1100">
                <a:solidFill>
                  <a:schemeClr val="accent6"/>
                </a:solidFill>
                <a:latin typeface="+mj-lt"/>
              </a:rPr>
              <a:t>Classified zone</a:t>
            </a:r>
            <a:endParaRPr dirty="0" lang="it-IT">
              <a:solidFill>
                <a:schemeClr val="accent6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2CF0E6D-345A-12D4-0354-AD710A698F39}"/>
              </a:ext>
            </a:extLst>
          </p:cNvPr>
          <p:cNvGrpSpPr/>
          <p:nvPr/>
        </p:nvGrpSpPr>
        <p:grpSpPr>
          <a:xfrm>
            <a:off x="6389026" y="5529321"/>
            <a:ext cx="1863376" cy="261610"/>
            <a:chOff x="6358364" y="4187157"/>
            <a:chExt cx="1863376" cy="261610"/>
          </a:xfrm>
        </p:grpSpPr>
        <p:pic>
          <p:nvPicPr>
            <p:cNvPr id="42" name="Picture 34">
              <a:extLst>
                <a:ext uri="{FF2B5EF4-FFF2-40B4-BE49-F238E27FC236}">
                  <a16:creationId xmlns:a16="http://schemas.microsoft.com/office/drawing/2014/main" id="{AB12B5BE-126A-5DBE-444E-F72E92871B90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58364" y="4212297"/>
              <a:ext cx="556786" cy="195922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43" name="CasellaDiTesto 60">
              <a:extLst>
                <a:ext uri="{FF2B5EF4-FFF2-40B4-BE49-F238E27FC236}">
                  <a16:creationId xmlns:a16="http://schemas.microsoft.com/office/drawing/2014/main" id="{C79F5E59-70F2-07C4-E246-6E2EB3677790}"/>
                </a:ext>
              </a:extLst>
            </p:cNvPr>
            <p:cNvSpPr txBox="1"/>
            <p:nvPr/>
          </p:nvSpPr>
          <p:spPr>
            <a:xfrm>
              <a:off x="6915150" y="4187157"/>
              <a:ext cx="130659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b="1" dirty="0" lang="en-US" sz="1100">
                  <a:solidFill>
                    <a:schemeClr val="accent3"/>
                  </a:solidFill>
                  <a:latin typeface="+mj-lt"/>
                </a:rPr>
                <a:t>Combustible dust</a:t>
              </a:r>
              <a:endParaRPr b="1" dirty="0" lang="it-IT" sz="1100">
                <a:solidFill>
                  <a:schemeClr val="accent3"/>
                </a:solidFill>
                <a:latin typeface="+mj-lt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46E400C-34CB-E9FB-1749-EF15245C6D34}"/>
              </a:ext>
            </a:extLst>
          </p:cNvPr>
          <p:cNvGrpSpPr/>
          <p:nvPr/>
        </p:nvGrpSpPr>
        <p:grpSpPr>
          <a:xfrm>
            <a:off x="9288779" y="5529321"/>
            <a:ext cx="1863376" cy="261610"/>
            <a:chOff x="6358364" y="4187157"/>
            <a:chExt cx="1863376" cy="261610"/>
          </a:xfrm>
        </p:grpSpPr>
        <p:pic>
          <p:nvPicPr>
            <p:cNvPr id="45" name="Picture 34">
              <a:extLst>
                <a:ext uri="{FF2B5EF4-FFF2-40B4-BE49-F238E27FC236}">
                  <a16:creationId xmlns:a16="http://schemas.microsoft.com/office/drawing/2014/main" id="{EF0BAA35-00AC-9C39-EFE9-617B6A8717D8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58364" y="4212297"/>
              <a:ext cx="556786" cy="195922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46" name="CasellaDiTesto 60">
              <a:extLst>
                <a:ext uri="{FF2B5EF4-FFF2-40B4-BE49-F238E27FC236}">
                  <a16:creationId xmlns:a16="http://schemas.microsoft.com/office/drawing/2014/main" id="{91BF548D-BC0E-C780-FCD3-83DDC5A863D7}"/>
                </a:ext>
              </a:extLst>
            </p:cNvPr>
            <p:cNvSpPr txBox="1"/>
            <p:nvPr/>
          </p:nvSpPr>
          <p:spPr>
            <a:xfrm>
              <a:off x="6915150" y="4187157"/>
              <a:ext cx="130659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b="1" dirty="0" lang="en-US" sz="1100">
                  <a:solidFill>
                    <a:schemeClr val="accent3"/>
                  </a:solidFill>
                  <a:latin typeface="+mj-lt"/>
                </a:rPr>
                <a:t>Combustible dust</a:t>
              </a:r>
              <a:endParaRPr b="1" dirty="0" lang="it-IT" sz="1100">
                <a:solidFill>
                  <a:schemeClr val="accent3"/>
                </a:solidFill>
                <a:latin typeface="+mj-lt"/>
              </a:endParaRPr>
            </a:p>
          </p:txBody>
        </p:sp>
      </p:grp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9F4465B6-6EBF-59CC-E5D2-2B5CCC9FBB0B}"/>
              </a:ext>
            </a:extLst>
          </p:cNvPr>
          <p:cNvSpPr txBox="1">
            <a:spLocks/>
          </p:cNvSpPr>
          <p:nvPr/>
        </p:nvSpPr>
        <p:spPr>
          <a:xfrm>
            <a:off x="3366283" y="2920778"/>
            <a:ext cx="2586038" cy="775354"/>
          </a:xfrm>
          <a:prstGeom prst="rect">
            <a:avLst/>
          </a:prstGeom>
          <a:noFill/>
        </p:spPr>
        <p:txBody>
          <a:bodyPr anchor="t" bIns="0" lIns="180000" rIns="180000" rtlCol="0" tIns="108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14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b="1"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49375">
              <a:lnSpc>
                <a:spcPct val="120000"/>
              </a:lnSpc>
              <a:spcBef>
                <a:spcPts val="0"/>
              </a:spcBef>
              <a:tabLst>
                <a:tab algn="l" pos="263525"/>
              </a:tabLst>
              <a:defRPr/>
            </a:pPr>
            <a:r>
              <a:rPr lang="en-US" sz="1100">
                <a:solidFill>
                  <a:srgbClr val="38AFD9"/>
                </a:solidFill>
                <a:latin charset="0" panose="050A0102010101010101" pitchFamily="18" typeface="Segoe MDL2 Assets"/>
              </a:rPr>
              <a:t> </a:t>
            </a:r>
            <a:r>
              <a:rPr lang="en-US" sz="1100">
                <a:solidFill>
                  <a:srgbClr val="38AFD9"/>
                </a:solidFill>
                <a:latin typeface="Roboto Bold"/>
              </a:rPr>
              <a:t>	Primary packaging</a:t>
            </a:r>
            <a:endParaRPr lang="en-US" sz="1200">
              <a:solidFill>
                <a:srgbClr val="F47358"/>
              </a:solidFill>
              <a:latin typeface="Roboto Bold"/>
            </a:endParaRP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F3CAF939-4EC0-DFF8-EFBB-19CC336997AF}"/>
              </a:ext>
            </a:extLst>
          </p:cNvPr>
          <p:cNvSpPr txBox="1">
            <a:spLocks/>
          </p:cNvSpPr>
          <p:nvPr/>
        </p:nvSpPr>
        <p:spPr>
          <a:xfrm>
            <a:off x="6253141" y="2920778"/>
            <a:ext cx="2586038" cy="775354"/>
          </a:xfrm>
          <a:prstGeom prst="rect">
            <a:avLst/>
          </a:prstGeom>
          <a:noFill/>
        </p:spPr>
        <p:txBody>
          <a:bodyPr anchor="t" bIns="0" lIns="180000" rIns="180000" rtlCol="0" tIns="108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14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b="1"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49375">
              <a:lnSpc>
                <a:spcPct val="120000"/>
              </a:lnSpc>
              <a:spcBef>
                <a:spcPts val="0"/>
              </a:spcBef>
              <a:tabLst>
                <a:tab algn="l" pos="263525"/>
              </a:tabLst>
              <a:defRPr/>
            </a:pPr>
            <a:r>
              <a:rPr lang="en-US" sz="1100">
                <a:solidFill>
                  <a:srgbClr val="38AFD9"/>
                </a:solidFill>
                <a:latin charset="0" panose="050A0102010101010101" pitchFamily="18" typeface="Segoe MDL2 Assets"/>
              </a:rPr>
              <a:t> </a:t>
            </a:r>
            <a:r>
              <a:rPr lang="en-US" sz="1100">
                <a:solidFill>
                  <a:srgbClr val="38AFD9"/>
                </a:solidFill>
                <a:latin typeface="Roboto Bold"/>
              </a:rPr>
              <a:t>	Primary packaging</a:t>
            </a:r>
            <a:endParaRPr lang="en-US" sz="1200">
              <a:solidFill>
                <a:srgbClr val="F47358"/>
              </a:solidFill>
              <a:latin typeface="Roboto Bold"/>
            </a:endParaRP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213F291-56CD-2A7A-41E8-CDCA2EC6BECF}"/>
              </a:ext>
            </a:extLst>
          </p:cNvPr>
          <p:cNvSpPr txBox="1">
            <a:spLocks/>
          </p:cNvSpPr>
          <p:nvPr/>
        </p:nvSpPr>
        <p:spPr>
          <a:xfrm>
            <a:off x="9140000" y="2920778"/>
            <a:ext cx="2586038" cy="775354"/>
          </a:xfrm>
          <a:prstGeom prst="rect">
            <a:avLst/>
          </a:prstGeom>
          <a:noFill/>
        </p:spPr>
        <p:txBody>
          <a:bodyPr anchor="t" bIns="0" lIns="180000" rIns="180000" rtlCol="0" tIns="108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14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b="1"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49375">
              <a:lnSpc>
                <a:spcPct val="120000"/>
              </a:lnSpc>
              <a:spcBef>
                <a:spcPts val="0"/>
              </a:spcBef>
              <a:tabLst>
                <a:tab algn="l" pos="263525"/>
              </a:tabLst>
              <a:defRPr/>
            </a:pPr>
            <a:r>
              <a:rPr lang="en-US" sz="1100">
                <a:solidFill>
                  <a:srgbClr val="38AFD9"/>
                </a:solidFill>
                <a:latin charset="0" panose="050A0102010101010101" pitchFamily="18" typeface="Segoe MDL2 Assets"/>
              </a:rPr>
              <a:t> </a:t>
            </a:r>
            <a:r>
              <a:rPr lang="en-US" sz="1100">
                <a:solidFill>
                  <a:srgbClr val="38AFD9"/>
                </a:solidFill>
                <a:latin typeface="Roboto Bold"/>
              </a:rPr>
              <a:t>	Primary packaging </a:t>
            </a:r>
            <a:br>
              <a:rPr lang="en-US" sz="1100">
                <a:solidFill>
                  <a:srgbClr val="38AFD9"/>
                </a:solidFill>
                <a:latin typeface="Roboto Bold"/>
              </a:rPr>
            </a:br>
            <a:r>
              <a:rPr lang="en-US" sz="1100">
                <a:solidFill>
                  <a:srgbClr val="38AFD9"/>
                </a:solidFill>
                <a:latin typeface="Roboto Bold"/>
              </a:rPr>
              <a:t>	not classified zone</a:t>
            </a:r>
          </a:p>
        </p:txBody>
      </p:sp>
      <p:pic>
        <p:nvPicPr>
          <p:cNvPr id="50" name="Immagine 21">
            <a:extLst>
              <a:ext uri="{FF2B5EF4-FFF2-40B4-BE49-F238E27FC236}">
                <a16:creationId xmlns:a16="http://schemas.microsoft.com/office/drawing/2014/main" id="{FFB759AB-C8BB-B0B6-4864-823424B79660}"/>
              </a:ext>
            </a:extLst>
          </p:cNvPr>
          <p:cNvPicPr>
            <a:picLocks noChangeAspect="1"/>
          </p:cNvPicPr>
          <p:nvPr/>
        </p:nvPicPr>
        <p:blipFill>
          <a:blip cstate="email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6187" y="1438713"/>
            <a:ext cx="2586134" cy="1475874"/>
          </a:xfrm>
          <a:prstGeom prst="rect">
            <a:avLst/>
          </a:prstGeom>
        </p:spPr>
      </p:pic>
      <p:pic>
        <p:nvPicPr>
          <p:cNvPr id="51" name="Immagine 34">
            <a:extLst>
              <a:ext uri="{FF2B5EF4-FFF2-40B4-BE49-F238E27FC236}">
                <a16:creationId xmlns:a16="http://schemas.microsoft.com/office/drawing/2014/main" id="{B4580717-9877-C41A-3A1C-80DE5D09110C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1"/>
          <a:stretch/>
        </p:blipFill>
        <p:spPr>
          <a:xfrm>
            <a:off x="6253045" y="1438713"/>
            <a:ext cx="2586038" cy="1475874"/>
          </a:xfrm>
          <a:prstGeom prst="rect">
            <a:avLst/>
          </a:prstGeom>
        </p:spPr>
      </p:pic>
      <p:pic>
        <p:nvPicPr>
          <p:cNvPr id="52" name="Immagine 46">
            <a:extLst>
              <a:ext uri="{FF2B5EF4-FFF2-40B4-BE49-F238E27FC236}">
                <a16:creationId xmlns:a16="http://schemas.microsoft.com/office/drawing/2014/main" id="{0A02843F-1562-D441-CD1B-618E3AE0824B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93" t="293"/>
          <a:stretch/>
        </p:blipFill>
        <p:spPr>
          <a:xfrm>
            <a:off x="9139999" y="1438712"/>
            <a:ext cx="2570624" cy="147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2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2800E614-70DA-1AE6-8F68-2EAC6B26C4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D1394FA-8571-55D1-E503-5D2100327D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Key features and benefits </a:t>
            </a:r>
          </a:p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3C408A6-FD7A-B037-8ADA-1A961D973C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551360D-ED07-B0FA-F1CF-B0ADF54A10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36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069F36-0ECE-4449-5823-9A6459251027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r>
              <a:rPr lang="en-US"/>
              <a:t>VHS011 Z22 EXA / C2D2</a:t>
            </a:r>
          </a:p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features and desig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A544BA-1B46-661A-B700-E5092778F73E}"/>
              </a:ext>
            </a:extLst>
          </p:cNvPr>
          <p:cNvPicPr>
            <a:picLocks noChangeAspect="1"/>
          </p:cNvPicPr>
          <p:nvPr/>
        </p:nvPicPr>
        <p:blipFill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3251" y="839688"/>
            <a:ext cx="2772936" cy="568938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93DB031-D64E-8EAD-261B-B6C3861CEEC6}"/>
              </a:ext>
            </a:extLst>
          </p:cNvPr>
          <p:cNvSpPr/>
          <p:nvPr/>
        </p:nvSpPr>
        <p:spPr>
          <a:xfrm>
            <a:off x="479422" y="1439742"/>
            <a:ext cx="3003556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dirty="0" lang="en-US" sz="1100"/>
              <a:t>Vacuum gauge for a constant monitoring of the performance and filtration efficienc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8B97BA7-51E7-2099-AF08-192D4669682B}"/>
              </a:ext>
            </a:extLst>
          </p:cNvPr>
          <p:cNvSpPr/>
          <p:nvPr/>
        </p:nvSpPr>
        <p:spPr>
          <a:xfrm>
            <a:off x="479422" y="2338908"/>
            <a:ext cx="3003556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PullClean cleaning filter system, easy and efficient operatio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998A648-00F5-CFE4-F05D-ED8E8755E54B}"/>
              </a:ext>
            </a:extLst>
          </p:cNvPr>
          <p:cNvSpPr/>
          <p:nvPr/>
        </p:nvSpPr>
        <p:spPr>
          <a:xfrm>
            <a:off x="479422" y="3128434"/>
            <a:ext cx="3570063" cy="686213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High efficiency filters: M-Class (as standard); </a:t>
            </a:r>
            <a:br>
              <a:rPr lang="en-US" sz="1100"/>
            </a:br>
            <a:r>
              <a:rPr lang="en-US" sz="1100"/>
              <a:t>PTFE or HEPA 14 upstream filter 99,995% 0.1 - 0.2 microns (as option) all filters are antistatic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0764611-337F-9EF3-4A28-7506ED623C20}"/>
              </a:ext>
            </a:extLst>
          </p:cNvPr>
          <p:cNvSpPr/>
          <p:nvPr/>
        </p:nvSpPr>
        <p:spPr>
          <a:xfrm>
            <a:off x="479422" y="4188478"/>
            <a:ext cx="3155318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Safe and mistake proof connection for certified ATEX accessories Ø40 EXA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7CA2174-E7B8-E7DC-2946-BEF34AF16B4F}"/>
              </a:ext>
            </a:extLst>
          </p:cNvPr>
          <p:cNvSpPr/>
          <p:nvPr/>
        </p:nvSpPr>
        <p:spPr>
          <a:xfrm>
            <a:off x="479422" y="4902837"/>
            <a:ext cx="3155319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15 L removable container AISI304, easily washable thanks to removable wheel-base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C6567FA-7D24-5AEF-86EE-7973AA9045AD}"/>
              </a:ext>
            </a:extLst>
          </p:cNvPr>
          <p:cNvSpPr/>
          <p:nvPr/>
        </p:nvSpPr>
        <p:spPr>
          <a:xfrm>
            <a:off x="2743200" y="5780840"/>
            <a:ext cx="1306285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Antistatic wheels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94AA83AE-612B-58C6-7311-5240F2FDA35D}"/>
              </a:ext>
            </a:extLst>
          </p:cNvPr>
          <p:cNvGrpSpPr/>
          <p:nvPr/>
        </p:nvGrpSpPr>
        <p:grpSpPr>
          <a:xfrm>
            <a:off x="475521" y="5730622"/>
            <a:ext cx="1954573" cy="336773"/>
            <a:chOff x="404448" y="5616706"/>
            <a:chExt cx="2615723" cy="450689"/>
          </a:xfrm>
        </p:grpSpPr>
        <p:pic>
          <p:nvPicPr>
            <p:cNvPr id="52" name="Immagine 71">
              <a:extLst>
                <a:ext uri="{FF2B5EF4-FFF2-40B4-BE49-F238E27FC236}">
                  <a16:creationId xmlns:a16="http://schemas.microsoft.com/office/drawing/2014/main" id="{EB102A21-ABF4-D82C-592A-47DF493C9CC0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4448" y="5616706"/>
              <a:ext cx="555374" cy="450689"/>
            </a:xfrm>
            <a:prstGeom prst="rect">
              <a:avLst/>
            </a:prstGeom>
          </p:spPr>
        </p:pic>
        <p:pic>
          <p:nvPicPr>
            <p:cNvPr id="53" name="Immagine 72">
              <a:extLst>
                <a:ext uri="{FF2B5EF4-FFF2-40B4-BE49-F238E27FC236}">
                  <a16:creationId xmlns:a16="http://schemas.microsoft.com/office/drawing/2014/main" id="{BD5B3B33-9A1C-A76B-741B-51B51E527F88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0162" y="5616706"/>
              <a:ext cx="456698" cy="450689"/>
            </a:xfrm>
            <a:prstGeom prst="rect">
              <a:avLst/>
            </a:prstGeom>
          </p:spPr>
        </p:pic>
        <p:pic>
          <p:nvPicPr>
            <p:cNvPr id="54" name="Immagine 73">
              <a:extLst>
                <a:ext uri="{FF2B5EF4-FFF2-40B4-BE49-F238E27FC236}">
                  <a16:creationId xmlns:a16="http://schemas.microsoft.com/office/drawing/2014/main" id="{0029C68F-4AF6-9778-BF04-E954317120D4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96018" y="5616706"/>
              <a:ext cx="1324153" cy="450689"/>
            </a:xfrm>
            <a:prstGeom prst="rect">
              <a:avLst/>
            </a:prstGeom>
          </p:spPr>
        </p:pic>
      </p:grpSp>
      <p:cxnSp>
        <p:nvCxnSpPr>
          <p:cNvPr id="46" name="Straight Arrow Connector 38">
            <a:extLst>
              <a:ext uri="{FF2B5EF4-FFF2-40B4-BE49-F238E27FC236}">
                <a16:creationId xmlns:a16="http://schemas.microsoft.com/office/drawing/2014/main" id="{FEFA5BFC-0DB4-D39C-001B-3E056E9047F6}"/>
              </a:ext>
            </a:extLst>
          </p:cNvPr>
          <p:cNvCxnSpPr>
            <a:cxnSpLocks/>
          </p:cNvCxnSpPr>
          <p:nvPr/>
        </p:nvCxnSpPr>
        <p:spPr>
          <a:xfrm flipV="1">
            <a:off x="2744837" y="5881839"/>
            <a:ext cx="1379488" cy="178949"/>
          </a:xfrm>
          <a:prstGeom prst="bentConnector3">
            <a:avLst>
              <a:gd fmla="val 99714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8F6E694C-833A-5B59-77F0-37B05873EDC0}"/>
              </a:ext>
            </a:extLst>
          </p:cNvPr>
          <p:cNvCxnSpPr>
            <a:cxnSpLocks/>
          </p:cNvCxnSpPr>
          <p:nvPr/>
        </p:nvCxnSpPr>
        <p:spPr>
          <a:xfrm>
            <a:off x="478619" y="1917965"/>
            <a:ext cx="402068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AAAA116-33B5-E2CC-856D-DA263885020A}"/>
              </a:ext>
            </a:extLst>
          </p:cNvPr>
          <p:cNvCxnSpPr>
            <a:cxnSpLocks/>
          </p:cNvCxnSpPr>
          <p:nvPr/>
        </p:nvCxnSpPr>
        <p:spPr>
          <a:xfrm>
            <a:off x="478619" y="2827020"/>
            <a:ext cx="409338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8A28555-9A78-5A9C-2625-CEDA7CB7EE9D}"/>
              </a:ext>
            </a:extLst>
          </p:cNvPr>
          <p:cNvCxnSpPr>
            <a:cxnSpLocks/>
          </p:cNvCxnSpPr>
          <p:nvPr/>
        </p:nvCxnSpPr>
        <p:spPr>
          <a:xfrm>
            <a:off x="475521" y="3814281"/>
            <a:ext cx="445842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4C13311-D120-37DA-17D9-043467DBA47D}"/>
              </a:ext>
            </a:extLst>
          </p:cNvPr>
          <p:cNvCxnSpPr>
            <a:cxnSpLocks/>
          </p:cNvCxnSpPr>
          <p:nvPr/>
        </p:nvCxnSpPr>
        <p:spPr>
          <a:xfrm>
            <a:off x="475521" y="4669693"/>
            <a:ext cx="402378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F717A29-AE78-7405-41E0-37DE1C583D17}"/>
              </a:ext>
            </a:extLst>
          </p:cNvPr>
          <p:cNvCxnSpPr>
            <a:cxnSpLocks/>
          </p:cNvCxnSpPr>
          <p:nvPr/>
        </p:nvCxnSpPr>
        <p:spPr>
          <a:xfrm flipV="1">
            <a:off x="475521" y="5212018"/>
            <a:ext cx="4400276" cy="178949"/>
          </a:xfrm>
          <a:prstGeom prst="bentConnector3">
            <a:avLst>
              <a:gd fmla="val 99976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CEA2BD6C-53BC-201C-BFD2-3F04B3000A62}"/>
              </a:ext>
            </a:extLst>
          </p:cNvPr>
          <p:cNvCxnSpPr>
            <a:cxnSpLocks/>
          </p:cNvCxnSpPr>
          <p:nvPr/>
        </p:nvCxnSpPr>
        <p:spPr>
          <a:xfrm>
            <a:off x="4146876" y="3102655"/>
            <a:ext cx="78707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6C51C8F-602B-434B-BFC8-A98A028CAA00}"/>
              </a:ext>
            </a:extLst>
          </p:cNvPr>
          <p:cNvCxnSpPr>
            <a:cxnSpLocks/>
          </p:cNvCxnSpPr>
          <p:nvPr/>
        </p:nvCxnSpPr>
        <p:spPr>
          <a:xfrm>
            <a:off x="4146876" y="3102655"/>
            <a:ext cx="0" cy="71162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B297F854-0790-3437-2A66-A7AEDAE2F6F0}"/>
              </a:ext>
            </a:extLst>
          </p:cNvPr>
          <p:cNvSpPr/>
          <p:nvPr/>
        </p:nvSpPr>
        <p:spPr>
          <a:xfrm>
            <a:off x="8569757" y="0"/>
            <a:ext cx="3653993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66" name="Immagine 116">
            <a:extLst>
              <a:ext uri="{FF2B5EF4-FFF2-40B4-BE49-F238E27FC236}">
                <a16:creationId xmlns:a16="http://schemas.microsoft.com/office/drawing/2014/main" id="{0319FC3D-B722-098A-45C3-4C265ECFD3A2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"/>
          <a:stretch/>
        </p:blipFill>
        <p:spPr>
          <a:xfrm>
            <a:off x="8556765" y="4443256"/>
            <a:ext cx="2240811" cy="1830542"/>
          </a:xfrm>
          <a:prstGeom prst="rect">
            <a:avLst/>
          </a:prstGeom>
        </p:spPr>
      </p:pic>
      <p:pic>
        <p:nvPicPr>
          <p:cNvPr id="68" name="Immagine 107">
            <a:extLst>
              <a:ext uri="{FF2B5EF4-FFF2-40B4-BE49-F238E27FC236}">
                <a16:creationId xmlns:a16="http://schemas.microsoft.com/office/drawing/2014/main" id="{43D48ACA-876E-2EB9-5135-3AE5F2D0948D}"/>
              </a:ext>
            </a:extLst>
          </p:cNvPr>
          <p:cNvPicPr>
            <a:picLocks noChangeAspect="1"/>
          </p:cNvPicPr>
          <p:nvPr/>
        </p:nvPicPr>
        <p:blipFill>
          <a:blip cstate="email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9332500" y="1257091"/>
            <a:ext cx="2128506" cy="2210660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FD4B4397-88CC-B2C5-A45F-4DC1D17B5F38}"/>
              </a:ext>
            </a:extLst>
          </p:cNvPr>
          <p:cNvSpPr/>
          <p:nvPr/>
        </p:nvSpPr>
        <p:spPr>
          <a:xfrm>
            <a:off x="6279643" y="1446682"/>
            <a:ext cx="1996738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Free dust motor enclosure with a protection rate IP65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80E876-EFCE-3325-7351-3C5CE1FF9054}"/>
              </a:ext>
            </a:extLst>
          </p:cNvPr>
          <p:cNvSpPr/>
          <p:nvPr/>
        </p:nvSpPr>
        <p:spPr>
          <a:xfrm>
            <a:off x="6279643" y="2140533"/>
            <a:ext cx="1996738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Rounded shape for an easy cleaning of the overall surface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3606FC8-0DE2-8E77-C45E-481282D8A244}"/>
              </a:ext>
            </a:extLst>
          </p:cNvPr>
          <p:cNvSpPr/>
          <p:nvPr/>
        </p:nvSpPr>
        <p:spPr>
          <a:xfrm>
            <a:off x="5901372" y="2809706"/>
            <a:ext cx="2375009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Quiet – only 72 dB(A) level noise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D877A1F-613C-C2FE-B423-7F70E5488D0C}"/>
              </a:ext>
            </a:extLst>
          </p:cNvPr>
          <p:cNvSpPr/>
          <p:nvPr/>
        </p:nvSpPr>
        <p:spPr>
          <a:xfrm>
            <a:off x="6279643" y="3311301"/>
            <a:ext cx="1996738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Easy and fast service: everything quickly accessibl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DB329AB-231D-1B77-9ACC-65D5F29D13D2}"/>
              </a:ext>
            </a:extLst>
          </p:cNvPr>
          <p:cNvSpPr/>
          <p:nvPr/>
        </p:nvSpPr>
        <p:spPr>
          <a:xfrm>
            <a:off x="6279643" y="4011636"/>
            <a:ext cx="1996738" cy="686213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Fully grounded and bonded,  avoids electrostatic sparks, electrical hazard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8EF934E6-3209-AB8B-D801-208D63D8F447}"/>
              </a:ext>
            </a:extLst>
          </p:cNvPr>
          <p:cNvSpPr/>
          <p:nvPr/>
        </p:nvSpPr>
        <p:spPr>
          <a:xfrm>
            <a:off x="6458599" y="4903090"/>
            <a:ext cx="1817782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Parking brake, stable also on slightly sloped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BF90CD8-66DD-69F9-7F44-100527B76CFB}"/>
              </a:ext>
            </a:extLst>
          </p:cNvPr>
          <p:cNvSpPr/>
          <p:nvPr/>
        </p:nvSpPr>
        <p:spPr>
          <a:xfrm>
            <a:off x="5901372" y="5584376"/>
            <a:ext cx="2375009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High maneuverability thanks to </a:t>
            </a:r>
            <a:br>
              <a:rPr lang="en-US" sz="1100"/>
            </a:br>
            <a:r>
              <a:rPr lang="en-US" sz="1100"/>
              <a:t>the 4 ball bearing pivoting wheels</a:t>
            </a: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A19ED5A3-CB4A-D276-3F79-66600C98FB24}"/>
              </a:ext>
            </a:extLst>
          </p:cNvPr>
          <p:cNvGrpSpPr/>
          <p:nvPr/>
        </p:nvGrpSpPr>
        <p:grpSpPr>
          <a:xfrm>
            <a:off x="4933950" y="1692637"/>
            <a:ext cx="3342431" cy="4372213"/>
            <a:chOff x="4933950" y="1692637"/>
            <a:chExt cx="3592832" cy="4372213"/>
          </a:xfrm>
        </p:grpSpPr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88827C2D-C99A-5FB2-323E-CFA00DD4EDD5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5346700" y="1692637"/>
              <a:ext cx="3180080" cy="238029"/>
            </a:xfrm>
            <a:prstGeom prst="bentConnector3">
              <a:avLst>
                <a:gd fmla="val 100320" name="adj1"/>
              </a:avLst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88">
              <a:extLst>
                <a:ext uri="{FF2B5EF4-FFF2-40B4-BE49-F238E27FC236}">
                  <a16:creationId xmlns:a16="http://schemas.microsoft.com/office/drawing/2014/main" id="{AA2A94E6-A606-184C-3057-1693BA7E002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933950" y="1894169"/>
              <a:ext cx="3592830" cy="726445"/>
            </a:xfrm>
            <a:prstGeom prst="bentConnector3">
              <a:avLst>
                <a:gd fmla="val 100371" name="adj1"/>
              </a:avLst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88">
              <a:extLst>
                <a:ext uri="{FF2B5EF4-FFF2-40B4-BE49-F238E27FC236}">
                  <a16:creationId xmlns:a16="http://schemas.microsoft.com/office/drawing/2014/main" id="{F8236027-7F8F-E46B-5727-1B888F03183D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5346700" y="2742619"/>
              <a:ext cx="3180080" cy="343828"/>
            </a:xfrm>
            <a:prstGeom prst="bentConnector3">
              <a:avLst>
                <a:gd fmla="val 100120" name="adj1"/>
              </a:avLst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Arrow Connector 88">
              <a:extLst>
                <a:ext uri="{FF2B5EF4-FFF2-40B4-BE49-F238E27FC236}">
                  <a16:creationId xmlns:a16="http://schemas.microsoft.com/office/drawing/2014/main" id="{3682BE32-7619-38D0-0564-77CB40B9DE3D}"/>
                </a:ext>
              </a:extLst>
            </p:cNvPr>
            <p:cNvCxnSpPr>
              <a:cxnSpLocks/>
            </p:cNvCxnSpPr>
            <p:nvPr/>
          </p:nvCxnSpPr>
          <p:spPr>
            <a:xfrm flipV="1" rot="10800000">
              <a:off x="5249308" y="3797358"/>
              <a:ext cx="3277472" cy="391830"/>
            </a:xfrm>
            <a:prstGeom prst="bentConnector3">
              <a:avLst>
                <a:gd fmla="val 99987" name="adj1"/>
              </a:avLst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Arrow Connector 88">
              <a:extLst>
                <a:ext uri="{FF2B5EF4-FFF2-40B4-BE49-F238E27FC236}">
                  <a16:creationId xmlns:a16="http://schemas.microsoft.com/office/drawing/2014/main" id="{F33984EB-E717-8495-ADD6-38394F8408A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01640" y="4699338"/>
              <a:ext cx="3025142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Arrow Connector 88">
              <a:extLst>
                <a:ext uri="{FF2B5EF4-FFF2-40B4-BE49-F238E27FC236}">
                  <a16:creationId xmlns:a16="http://schemas.microsoft.com/office/drawing/2014/main" id="{F687B131-7E1D-7D8C-1146-060546C0292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34050" y="5390966"/>
              <a:ext cx="2792732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Arrow Connector 88">
              <a:extLst>
                <a:ext uri="{FF2B5EF4-FFF2-40B4-BE49-F238E27FC236}">
                  <a16:creationId xmlns:a16="http://schemas.microsoft.com/office/drawing/2014/main" id="{B018F123-72E3-8BEE-DF17-68CA151FA6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05400" y="6064850"/>
              <a:ext cx="3421382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1" name="Straight Arrow Connector 88">
            <a:extLst>
              <a:ext uri="{FF2B5EF4-FFF2-40B4-BE49-F238E27FC236}">
                <a16:creationId xmlns:a16="http://schemas.microsoft.com/office/drawing/2014/main" id="{984BFCC6-E404-5FAE-58DB-40880F2ADF30}"/>
              </a:ext>
            </a:extLst>
          </p:cNvPr>
          <p:cNvCxnSpPr>
            <a:cxnSpLocks/>
          </p:cNvCxnSpPr>
          <p:nvPr/>
        </p:nvCxnSpPr>
        <p:spPr>
          <a:xfrm>
            <a:off x="10392196" y="937518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894942B-4B4C-8BC0-7AC0-DAFF8B72F35F}"/>
              </a:ext>
            </a:extLst>
          </p:cNvPr>
          <p:cNvSpPr/>
          <p:nvPr/>
        </p:nvSpPr>
        <p:spPr>
          <a:xfrm>
            <a:off x="9424097" y="653823"/>
            <a:ext cx="1949378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100"/>
              <a:t>Handle and power cord holder</a:t>
            </a:r>
          </a:p>
        </p:txBody>
      </p:sp>
      <p:cxnSp>
        <p:nvCxnSpPr>
          <p:cNvPr id="136" name="Straight Arrow Connector 88">
            <a:extLst>
              <a:ext uri="{FF2B5EF4-FFF2-40B4-BE49-F238E27FC236}">
                <a16:creationId xmlns:a16="http://schemas.microsoft.com/office/drawing/2014/main" id="{309F37BE-00B5-B375-2B3D-589CE1E1AAC4}"/>
              </a:ext>
            </a:extLst>
          </p:cNvPr>
          <p:cNvCxnSpPr>
            <a:cxnSpLocks/>
          </p:cNvCxnSpPr>
          <p:nvPr/>
        </p:nvCxnSpPr>
        <p:spPr>
          <a:xfrm flipV="1" rot="10800000">
            <a:off x="9265921" y="4595149"/>
            <a:ext cx="2372817" cy="325269"/>
          </a:xfrm>
          <a:prstGeom prst="bentConnector3">
            <a:avLst>
              <a:gd fmla="val 99134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68ACE8A6-4C23-AA7D-6E6D-6BEC2990E26D}"/>
              </a:ext>
            </a:extLst>
          </p:cNvPr>
          <p:cNvSpPr/>
          <p:nvPr/>
        </p:nvSpPr>
        <p:spPr>
          <a:xfrm>
            <a:off x="10444506" y="4932338"/>
            <a:ext cx="1194231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Cable gland ATEX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1CC98AC8-2C0C-1497-DB11-2A534257958F}"/>
              </a:ext>
            </a:extLst>
          </p:cNvPr>
          <p:cNvSpPr/>
          <p:nvPr/>
        </p:nvSpPr>
        <p:spPr>
          <a:xfrm>
            <a:off x="10339421" y="5600049"/>
            <a:ext cx="1298503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 lvl="0">
              <a:lnSpc>
                <a:spcPct val="120000"/>
              </a:lnSpc>
            </a:pPr>
            <a:r>
              <a:rPr lang="en-US" sz="1100"/>
              <a:t>Brushless motor</a:t>
            </a:r>
          </a:p>
          <a:p>
            <a:pPr algn="r" lvl="0">
              <a:lnSpc>
                <a:spcPct val="120000"/>
              </a:lnSpc>
            </a:pPr>
            <a:r>
              <a:rPr lang="en-US" sz="1100"/>
              <a:t>up to 10.000 hours</a:t>
            </a:r>
            <a:endParaRPr dirty="0" lang="en-US" sz="1100"/>
          </a:p>
        </p:txBody>
      </p:sp>
      <p:cxnSp>
        <p:nvCxnSpPr>
          <p:cNvPr id="147" name="Straight Arrow Connector 88">
            <a:extLst>
              <a:ext uri="{FF2B5EF4-FFF2-40B4-BE49-F238E27FC236}">
                <a16:creationId xmlns:a16="http://schemas.microsoft.com/office/drawing/2014/main" id="{696C495B-E3E9-A58A-1B3C-06B32ABC312D}"/>
              </a:ext>
            </a:extLst>
          </p:cNvPr>
          <p:cNvCxnSpPr>
            <a:cxnSpLocks/>
          </p:cNvCxnSpPr>
          <p:nvPr/>
        </p:nvCxnSpPr>
        <p:spPr>
          <a:xfrm flipH="1">
            <a:off x="9692640" y="5214188"/>
            <a:ext cx="194609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Arrow Connector 88">
            <a:extLst>
              <a:ext uri="{FF2B5EF4-FFF2-40B4-BE49-F238E27FC236}">
                <a16:creationId xmlns:a16="http://schemas.microsoft.com/office/drawing/2014/main" id="{E40919A5-1372-68E0-E832-53193A5AF9DF}"/>
              </a:ext>
            </a:extLst>
          </p:cNvPr>
          <p:cNvCxnSpPr>
            <a:cxnSpLocks/>
          </p:cNvCxnSpPr>
          <p:nvPr/>
        </p:nvCxnSpPr>
        <p:spPr>
          <a:xfrm rot="10800000">
            <a:off x="9750426" y="5464702"/>
            <a:ext cx="1887499" cy="612735"/>
          </a:xfrm>
          <a:prstGeom prst="bentConnector3">
            <a:avLst>
              <a:gd fmla="val 100464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Rectangle 158">
            <a:extLst>
              <a:ext uri="{FF2B5EF4-FFF2-40B4-BE49-F238E27FC236}">
                <a16:creationId xmlns:a16="http://schemas.microsoft.com/office/drawing/2014/main" id="{E5EE1A09-F5A7-8457-0D96-7DF308560436}"/>
              </a:ext>
            </a:extLst>
          </p:cNvPr>
          <p:cNvSpPr/>
          <p:nvPr/>
        </p:nvSpPr>
        <p:spPr>
          <a:xfrm>
            <a:off x="10340234" y="4315128"/>
            <a:ext cx="1298503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Main switch ATEX</a:t>
            </a:r>
          </a:p>
        </p:txBody>
      </p:sp>
      <p:cxnSp>
        <p:nvCxnSpPr>
          <p:cNvPr id="160" name="Straight Arrow Connector 88">
            <a:extLst>
              <a:ext uri="{FF2B5EF4-FFF2-40B4-BE49-F238E27FC236}">
                <a16:creationId xmlns:a16="http://schemas.microsoft.com/office/drawing/2014/main" id="{087260D9-1C07-35C4-0C47-CA65A571E26D}"/>
              </a:ext>
            </a:extLst>
          </p:cNvPr>
          <p:cNvCxnSpPr>
            <a:cxnSpLocks/>
          </p:cNvCxnSpPr>
          <p:nvPr/>
        </p:nvCxnSpPr>
        <p:spPr>
          <a:xfrm flipH="1">
            <a:off x="9448819" y="937776"/>
            <a:ext cx="1915131" cy="0"/>
          </a:xfrm>
          <a:prstGeom prst="straightConnector1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>
            <a:extLst>
              <a:ext uri="{FF2B5EF4-FFF2-40B4-BE49-F238E27FC236}">
                <a16:creationId xmlns:a16="http://schemas.microsoft.com/office/drawing/2014/main" id="{34C88D39-8894-9665-66C6-DC7DB426D3EE}"/>
              </a:ext>
            </a:extLst>
          </p:cNvPr>
          <p:cNvSpPr/>
          <p:nvPr/>
        </p:nvSpPr>
        <p:spPr>
          <a:xfrm>
            <a:off x="9027920" y="1159558"/>
            <a:ext cx="1298503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Power cord</a:t>
            </a:r>
          </a:p>
          <a:p>
            <a:pPr>
              <a:lnSpc>
                <a:spcPct val="120000"/>
              </a:lnSpc>
            </a:pPr>
            <a:r>
              <a:rPr lang="en-US" sz="1100"/>
              <a:t>9 meters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4D0212B-1B7E-B941-99C8-C2924C594B44}"/>
              </a:ext>
            </a:extLst>
          </p:cNvPr>
          <p:cNvSpPr/>
          <p:nvPr/>
        </p:nvSpPr>
        <p:spPr>
          <a:xfrm>
            <a:off x="10786458" y="1159558"/>
            <a:ext cx="852279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Plug </a:t>
            </a:r>
            <a:br>
              <a:rPr lang="en-US" sz="1100"/>
            </a:br>
            <a:r>
              <a:rPr lang="en-US" sz="1100"/>
              <a:t>2P+T </a:t>
            </a:r>
          </a:p>
        </p:txBody>
      </p:sp>
      <p:cxnSp>
        <p:nvCxnSpPr>
          <p:cNvPr id="167" name="Straight Arrow Connector 88">
            <a:extLst>
              <a:ext uri="{FF2B5EF4-FFF2-40B4-BE49-F238E27FC236}">
                <a16:creationId xmlns:a16="http://schemas.microsoft.com/office/drawing/2014/main" id="{BD4912BB-F093-8951-66DB-324607959768}"/>
              </a:ext>
            </a:extLst>
          </p:cNvPr>
          <p:cNvCxnSpPr>
            <a:cxnSpLocks/>
          </p:cNvCxnSpPr>
          <p:nvPr/>
        </p:nvCxnSpPr>
        <p:spPr>
          <a:xfrm>
            <a:off x="9027920" y="1644052"/>
            <a:ext cx="9733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Arrow Connector 88">
            <a:extLst>
              <a:ext uri="{FF2B5EF4-FFF2-40B4-BE49-F238E27FC236}">
                <a16:creationId xmlns:a16="http://schemas.microsoft.com/office/drawing/2014/main" id="{FDBDBEC7-476F-0BDE-AD50-067134323A93}"/>
              </a:ext>
            </a:extLst>
          </p:cNvPr>
          <p:cNvCxnSpPr>
            <a:cxnSpLocks/>
          </p:cNvCxnSpPr>
          <p:nvPr/>
        </p:nvCxnSpPr>
        <p:spPr>
          <a:xfrm flipH="1">
            <a:off x="10664048" y="1644052"/>
            <a:ext cx="9733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73">
            <a:extLst>
              <a:ext uri="{FF2B5EF4-FFF2-40B4-BE49-F238E27FC236}">
                <a16:creationId xmlns:a16="http://schemas.microsoft.com/office/drawing/2014/main" id="{D97DB4FF-61B9-67A0-F6BB-8C8130B7A14C}"/>
              </a:ext>
            </a:extLst>
          </p:cNvPr>
          <p:cNvSpPr/>
          <p:nvPr/>
        </p:nvSpPr>
        <p:spPr>
          <a:xfrm>
            <a:off x="9424097" y="3537087"/>
            <a:ext cx="1949378" cy="370827"/>
          </a:xfrm>
          <a:prstGeom prst="rect">
            <a:avLst/>
          </a:prstGeom>
        </p:spPr>
        <p:txBody>
          <a:bodyPr bIns="91440" lIns="0" rIns="0" tIns="90000"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100"/>
              <a:t>Accessories holder</a:t>
            </a:r>
          </a:p>
        </p:txBody>
      </p:sp>
      <p:cxnSp>
        <p:nvCxnSpPr>
          <p:cNvPr id="175" name="Straight Arrow Connector 88">
            <a:extLst>
              <a:ext uri="{FF2B5EF4-FFF2-40B4-BE49-F238E27FC236}">
                <a16:creationId xmlns:a16="http://schemas.microsoft.com/office/drawing/2014/main" id="{DA25D3A4-0E41-79DB-273C-6EAE59654D43}"/>
              </a:ext>
            </a:extLst>
          </p:cNvPr>
          <p:cNvCxnSpPr>
            <a:cxnSpLocks/>
          </p:cNvCxnSpPr>
          <p:nvPr/>
        </p:nvCxnSpPr>
        <p:spPr>
          <a:xfrm flipH="1">
            <a:off x="9751412" y="3532507"/>
            <a:ext cx="1252539" cy="0"/>
          </a:xfrm>
          <a:prstGeom prst="straightConnector1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033ACD5B-052E-8932-0231-A2DA85C348E0}"/>
              </a:ext>
            </a:extLst>
          </p:cNvPr>
          <p:cNvGrpSpPr/>
          <p:nvPr/>
        </p:nvGrpSpPr>
        <p:grpSpPr>
          <a:xfrm>
            <a:off x="9974072" y="3067921"/>
            <a:ext cx="823504" cy="467264"/>
            <a:chOff x="9974072" y="3014581"/>
            <a:chExt cx="823504" cy="361528"/>
          </a:xfrm>
        </p:grpSpPr>
        <p:cxnSp>
          <p:nvCxnSpPr>
            <p:cNvPr id="184" name="Straight Arrow Connector 88">
              <a:extLst>
                <a:ext uri="{FF2B5EF4-FFF2-40B4-BE49-F238E27FC236}">
                  <a16:creationId xmlns:a16="http://schemas.microsoft.com/office/drawing/2014/main" id="{35A71F22-C205-C6AF-A219-C22FEAEF2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74072" y="3014581"/>
              <a:ext cx="0" cy="36152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Arrow Connector 88">
              <a:extLst>
                <a:ext uri="{FF2B5EF4-FFF2-40B4-BE49-F238E27FC236}">
                  <a16:creationId xmlns:a16="http://schemas.microsoft.com/office/drawing/2014/main" id="{707592D5-1B8A-0E76-E677-03888B4D1B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97576" y="3014581"/>
              <a:ext cx="0" cy="36152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1453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069F36-0ECE-4449-5823-9A6459251027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>
          <a:xfrm>
            <a:off x="475521" y="873877"/>
            <a:ext cx="5983078" cy="376456"/>
          </a:xfrm>
        </p:spPr>
        <p:txBody>
          <a:bodyPr/>
          <a:lstStyle/>
          <a:p>
            <a:r>
              <a:rPr lang="en-US"/>
              <a:t>VHS010 Z22 EXA / C2D2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F29DE9E-357C-4AC4-1132-D8B55C402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features and desig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950DB-5800-BF60-59A7-C02B4F557D1E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97439-FCED-FE1F-BD98-DD00637C02B7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A544BA-1B46-661A-B700-E5092778F73E}"/>
              </a:ext>
            </a:extLst>
          </p:cNvPr>
          <p:cNvPicPr>
            <a:picLocks noChangeAspect="1"/>
          </p:cNvPicPr>
          <p:nvPr/>
        </p:nvPicPr>
        <p:blipFill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2557" y="1235304"/>
            <a:ext cx="2565832" cy="5311086"/>
          </a:xfrm>
          <a:prstGeom prst="rect">
            <a:avLst/>
          </a:prstGeom>
        </p:spPr>
      </p:pic>
      <p:pic>
        <p:nvPicPr>
          <p:cNvPr id="54" name="Immagine 73">
            <a:extLst>
              <a:ext uri="{FF2B5EF4-FFF2-40B4-BE49-F238E27FC236}">
                <a16:creationId xmlns:a16="http://schemas.microsoft.com/office/drawing/2014/main" id="{0029C68F-4AF6-9778-BF04-E954317120D4}"/>
              </a:ext>
            </a:extLst>
          </p:cNvPr>
          <p:cNvPicPr>
            <a:picLocks noChangeAspect="1"/>
          </p:cNvPicPr>
          <p:nvPr/>
        </p:nvPicPr>
        <p:blipFill>
          <a:blip cstate="email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9638" y="5730622"/>
            <a:ext cx="989460" cy="336773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08B97BA7-51E7-2099-AF08-192D4669682B}"/>
              </a:ext>
            </a:extLst>
          </p:cNvPr>
          <p:cNvSpPr/>
          <p:nvPr/>
        </p:nvSpPr>
        <p:spPr>
          <a:xfrm>
            <a:off x="479422" y="2253653"/>
            <a:ext cx="3570063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HEPA 14 safety filter efficiency 99,995% 0.1 - 0.2 microns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5AAAA116-33B5-E2CC-856D-DA263885020A}"/>
              </a:ext>
            </a:extLst>
          </p:cNvPr>
          <p:cNvCxnSpPr>
            <a:cxnSpLocks/>
          </p:cNvCxnSpPr>
          <p:nvPr/>
        </p:nvCxnSpPr>
        <p:spPr>
          <a:xfrm>
            <a:off x="478619" y="2536272"/>
            <a:ext cx="4277600" cy="930158"/>
          </a:xfrm>
          <a:prstGeom prst="bentConnector3">
            <a:avLst>
              <a:gd fmla="val 100324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D998A648-00F5-CFE4-F05D-ED8E8755E54B}"/>
              </a:ext>
            </a:extLst>
          </p:cNvPr>
          <p:cNvSpPr/>
          <p:nvPr/>
        </p:nvSpPr>
        <p:spPr>
          <a:xfrm>
            <a:off x="479422" y="2867102"/>
            <a:ext cx="3570063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30 L externally painted AISI 304 container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F8A28555-9A78-5A9C-2625-CEDA7CB7EE9D}"/>
              </a:ext>
            </a:extLst>
          </p:cNvPr>
          <p:cNvCxnSpPr>
            <a:cxnSpLocks/>
          </p:cNvCxnSpPr>
          <p:nvPr/>
        </p:nvCxnSpPr>
        <p:spPr>
          <a:xfrm>
            <a:off x="475521" y="3144378"/>
            <a:ext cx="4088378" cy="735076"/>
          </a:xfrm>
          <a:prstGeom prst="bentConnector3">
            <a:avLst>
              <a:gd fmla="val 100323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80764611-337F-9EF3-4A28-7506ED623C20}"/>
              </a:ext>
            </a:extLst>
          </p:cNvPr>
          <p:cNvSpPr/>
          <p:nvPr/>
        </p:nvSpPr>
        <p:spPr>
          <a:xfrm>
            <a:off x="479422" y="3477880"/>
            <a:ext cx="3155318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Safe and mistake proof connection for certified ATEX accessories Ø40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4C13311-D120-37DA-17D9-043467DBA47D}"/>
              </a:ext>
            </a:extLst>
          </p:cNvPr>
          <p:cNvCxnSpPr>
            <a:cxnSpLocks/>
          </p:cNvCxnSpPr>
          <p:nvPr/>
        </p:nvCxnSpPr>
        <p:spPr>
          <a:xfrm>
            <a:off x="475521" y="3968467"/>
            <a:ext cx="4058853" cy="454167"/>
          </a:xfrm>
          <a:prstGeom prst="bentConnector3">
            <a:avLst>
              <a:gd fmla="val 99985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87CA2174-E7B8-E7DC-2946-BEF34AF16B4F}"/>
              </a:ext>
            </a:extLst>
          </p:cNvPr>
          <p:cNvSpPr/>
          <p:nvPr/>
        </p:nvSpPr>
        <p:spPr>
          <a:xfrm>
            <a:off x="479422" y="4299297"/>
            <a:ext cx="3155319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Fully grounded and bonded,  avoids electrostatic sparks, electrical hazard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DF717A29-AE78-7405-41E0-37DE1C583D17}"/>
              </a:ext>
            </a:extLst>
          </p:cNvPr>
          <p:cNvCxnSpPr>
            <a:cxnSpLocks/>
          </p:cNvCxnSpPr>
          <p:nvPr/>
        </p:nvCxnSpPr>
        <p:spPr>
          <a:xfrm>
            <a:off x="475521" y="4787427"/>
            <a:ext cx="4280698" cy="271060"/>
          </a:xfrm>
          <a:prstGeom prst="bentConnector3">
            <a:avLst>
              <a:gd fmla="val 100065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B297F854-0790-3437-2A66-A7AEDAE2F6F0}"/>
              </a:ext>
            </a:extLst>
          </p:cNvPr>
          <p:cNvSpPr/>
          <p:nvPr/>
        </p:nvSpPr>
        <p:spPr>
          <a:xfrm>
            <a:off x="8569757" y="0"/>
            <a:ext cx="3653993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66" name="Immagine 116">
            <a:extLst>
              <a:ext uri="{FF2B5EF4-FFF2-40B4-BE49-F238E27FC236}">
                <a16:creationId xmlns:a16="http://schemas.microsoft.com/office/drawing/2014/main" id="{0319FC3D-B722-098A-45C3-4C265ECFD3A2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"/>
          <a:stretch/>
        </p:blipFill>
        <p:spPr>
          <a:xfrm>
            <a:off x="8556765" y="4443256"/>
            <a:ext cx="2240811" cy="1830542"/>
          </a:xfrm>
          <a:prstGeom prst="rect">
            <a:avLst/>
          </a:prstGeom>
        </p:spPr>
      </p:pic>
      <p:pic>
        <p:nvPicPr>
          <p:cNvPr id="68" name="Immagine 107">
            <a:extLst>
              <a:ext uri="{FF2B5EF4-FFF2-40B4-BE49-F238E27FC236}">
                <a16:creationId xmlns:a16="http://schemas.microsoft.com/office/drawing/2014/main" id="{43D48ACA-876E-2EB9-5135-3AE5F2D0948D}"/>
              </a:ext>
            </a:extLst>
          </p:cNvPr>
          <p:cNvPicPr>
            <a:picLocks noChangeAspect="1"/>
          </p:cNvPicPr>
          <p:nvPr/>
        </p:nvPicPr>
        <p:blipFill>
          <a:blip cstate="email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9332500" y="1257091"/>
            <a:ext cx="2128506" cy="2210660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FD4B4397-88CC-B2C5-A45F-4DC1D17B5F38}"/>
              </a:ext>
            </a:extLst>
          </p:cNvPr>
          <p:cNvSpPr/>
          <p:nvPr/>
        </p:nvSpPr>
        <p:spPr>
          <a:xfrm>
            <a:off x="6279643" y="1446682"/>
            <a:ext cx="1996738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Free dust motor enclosure with a protection rate IP65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80E876-EFCE-3325-7351-3C5CE1FF9054}"/>
              </a:ext>
            </a:extLst>
          </p:cNvPr>
          <p:cNvSpPr/>
          <p:nvPr/>
        </p:nvSpPr>
        <p:spPr>
          <a:xfrm>
            <a:off x="6279643" y="2374524"/>
            <a:ext cx="1996738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Rounded shape for an easy cleaning of the overall surface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3606FC8-0DE2-8E77-C45E-481282D8A244}"/>
              </a:ext>
            </a:extLst>
          </p:cNvPr>
          <p:cNvSpPr/>
          <p:nvPr/>
        </p:nvSpPr>
        <p:spPr>
          <a:xfrm>
            <a:off x="5901372" y="3264266"/>
            <a:ext cx="2375009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Quiet – only 72 dB(A) level noise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D877A1F-613C-C2FE-B423-7F70E5488D0C}"/>
              </a:ext>
            </a:extLst>
          </p:cNvPr>
          <p:cNvSpPr/>
          <p:nvPr/>
        </p:nvSpPr>
        <p:spPr>
          <a:xfrm>
            <a:off x="5901372" y="4311235"/>
            <a:ext cx="2375009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Convenient and safe disposal system 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DB329AB-231D-1B77-9ACC-65D5F29D13D2}"/>
              </a:ext>
            </a:extLst>
          </p:cNvPr>
          <p:cNvSpPr/>
          <p:nvPr/>
        </p:nvSpPr>
        <p:spPr>
          <a:xfrm>
            <a:off x="6565359" y="4857139"/>
            <a:ext cx="1711022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Parking brake , stable also on slightly sloped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EBF90CD8-66DD-69F9-7F44-100527B76CFB}"/>
              </a:ext>
            </a:extLst>
          </p:cNvPr>
          <p:cNvSpPr/>
          <p:nvPr/>
        </p:nvSpPr>
        <p:spPr>
          <a:xfrm>
            <a:off x="5901372" y="5584376"/>
            <a:ext cx="2375009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High maneuverability, container </a:t>
            </a:r>
            <a:br>
              <a:rPr lang="en-US" sz="1100"/>
            </a:br>
            <a:r>
              <a:rPr lang="en-US" sz="1100"/>
              <a:t>with 4 ball bearing pivoting wheels</a:t>
            </a:r>
          </a:p>
        </p:txBody>
      </p:sp>
      <p:cxnSp>
        <p:nvCxnSpPr>
          <p:cNvPr id="94" name="Straight Arrow Connector 88">
            <a:extLst>
              <a:ext uri="{FF2B5EF4-FFF2-40B4-BE49-F238E27FC236}">
                <a16:creationId xmlns:a16="http://schemas.microsoft.com/office/drawing/2014/main" id="{AA2A94E6-A606-184C-3057-1693BA7E0029}"/>
              </a:ext>
            </a:extLst>
          </p:cNvPr>
          <p:cNvCxnSpPr>
            <a:cxnSpLocks/>
          </p:cNvCxnSpPr>
          <p:nvPr/>
        </p:nvCxnSpPr>
        <p:spPr>
          <a:xfrm rot="10800000">
            <a:off x="4992862" y="2308272"/>
            <a:ext cx="3283518" cy="550573"/>
          </a:xfrm>
          <a:prstGeom prst="bentConnector3">
            <a:avLst>
              <a:gd fmla="val 100185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88">
            <a:extLst>
              <a:ext uri="{FF2B5EF4-FFF2-40B4-BE49-F238E27FC236}">
                <a16:creationId xmlns:a16="http://schemas.microsoft.com/office/drawing/2014/main" id="{F8236027-7F8F-E46B-5727-1B888F03183D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3217064"/>
            <a:ext cx="2958446" cy="343828"/>
          </a:xfrm>
          <a:prstGeom prst="bentConnector3">
            <a:avLst>
              <a:gd fmla="val 100120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88">
            <a:extLst>
              <a:ext uri="{FF2B5EF4-FFF2-40B4-BE49-F238E27FC236}">
                <a16:creationId xmlns:a16="http://schemas.microsoft.com/office/drawing/2014/main" id="{F33984EB-E717-8495-ADD6-38394F8408A3}"/>
              </a:ext>
            </a:extLst>
          </p:cNvPr>
          <p:cNvCxnSpPr>
            <a:cxnSpLocks/>
          </p:cNvCxnSpPr>
          <p:nvPr/>
        </p:nvCxnSpPr>
        <p:spPr>
          <a:xfrm flipH="1">
            <a:off x="5772150" y="5339476"/>
            <a:ext cx="250423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88">
            <a:extLst>
              <a:ext uri="{FF2B5EF4-FFF2-40B4-BE49-F238E27FC236}">
                <a16:creationId xmlns:a16="http://schemas.microsoft.com/office/drawing/2014/main" id="{B018F123-72E3-8BEE-DF17-68CA151FA6E8}"/>
              </a:ext>
            </a:extLst>
          </p:cNvPr>
          <p:cNvCxnSpPr>
            <a:cxnSpLocks/>
          </p:cNvCxnSpPr>
          <p:nvPr/>
        </p:nvCxnSpPr>
        <p:spPr>
          <a:xfrm flipH="1">
            <a:off x="5093451" y="6064850"/>
            <a:ext cx="31829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88">
            <a:extLst>
              <a:ext uri="{FF2B5EF4-FFF2-40B4-BE49-F238E27FC236}">
                <a16:creationId xmlns:a16="http://schemas.microsoft.com/office/drawing/2014/main" id="{984BFCC6-E404-5FAE-58DB-40880F2ADF30}"/>
              </a:ext>
            </a:extLst>
          </p:cNvPr>
          <p:cNvCxnSpPr>
            <a:cxnSpLocks/>
          </p:cNvCxnSpPr>
          <p:nvPr/>
        </p:nvCxnSpPr>
        <p:spPr>
          <a:xfrm>
            <a:off x="10392196" y="937518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894942B-4B4C-8BC0-7AC0-DAFF8B72F35F}"/>
              </a:ext>
            </a:extLst>
          </p:cNvPr>
          <p:cNvSpPr/>
          <p:nvPr/>
        </p:nvSpPr>
        <p:spPr>
          <a:xfrm>
            <a:off x="9424097" y="653823"/>
            <a:ext cx="1949378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100"/>
              <a:t>Handle and power cord holder</a:t>
            </a:r>
          </a:p>
        </p:txBody>
      </p:sp>
      <p:cxnSp>
        <p:nvCxnSpPr>
          <p:cNvPr id="136" name="Straight Arrow Connector 88">
            <a:extLst>
              <a:ext uri="{FF2B5EF4-FFF2-40B4-BE49-F238E27FC236}">
                <a16:creationId xmlns:a16="http://schemas.microsoft.com/office/drawing/2014/main" id="{309F37BE-00B5-B375-2B3D-589CE1E1AAC4}"/>
              </a:ext>
            </a:extLst>
          </p:cNvPr>
          <p:cNvCxnSpPr>
            <a:cxnSpLocks/>
          </p:cNvCxnSpPr>
          <p:nvPr/>
        </p:nvCxnSpPr>
        <p:spPr>
          <a:xfrm flipV="1" rot="10800000">
            <a:off x="9265921" y="4595149"/>
            <a:ext cx="2372817" cy="325269"/>
          </a:xfrm>
          <a:prstGeom prst="bentConnector3">
            <a:avLst>
              <a:gd fmla="val 99134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68ACE8A6-4C23-AA7D-6E6D-6BEC2990E26D}"/>
              </a:ext>
            </a:extLst>
          </p:cNvPr>
          <p:cNvSpPr/>
          <p:nvPr/>
        </p:nvSpPr>
        <p:spPr>
          <a:xfrm>
            <a:off x="10444506" y="4932338"/>
            <a:ext cx="1194231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Cable gland ATEX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1CC98AC8-2C0C-1497-DB11-2A534257958F}"/>
              </a:ext>
            </a:extLst>
          </p:cNvPr>
          <p:cNvSpPr/>
          <p:nvPr/>
        </p:nvSpPr>
        <p:spPr>
          <a:xfrm>
            <a:off x="10339421" y="5600049"/>
            <a:ext cx="1298503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 lvl="0">
              <a:lnSpc>
                <a:spcPct val="120000"/>
              </a:lnSpc>
            </a:pPr>
            <a:r>
              <a:rPr lang="en-US" sz="1100"/>
              <a:t>Brushless motor</a:t>
            </a:r>
          </a:p>
          <a:p>
            <a:pPr algn="r" lvl="0">
              <a:lnSpc>
                <a:spcPct val="120000"/>
              </a:lnSpc>
            </a:pPr>
            <a:r>
              <a:rPr lang="en-US" sz="1100"/>
              <a:t>up to 10.000 hours</a:t>
            </a:r>
            <a:endParaRPr dirty="0" lang="en-US" sz="1100"/>
          </a:p>
        </p:txBody>
      </p:sp>
      <p:cxnSp>
        <p:nvCxnSpPr>
          <p:cNvPr id="147" name="Straight Arrow Connector 88">
            <a:extLst>
              <a:ext uri="{FF2B5EF4-FFF2-40B4-BE49-F238E27FC236}">
                <a16:creationId xmlns:a16="http://schemas.microsoft.com/office/drawing/2014/main" id="{696C495B-E3E9-A58A-1B3C-06B32ABC312D}"/>
              </a:ext>
            </a:extLst>
          </p:cNvPr>
          <p:cNvCxnSpPr>
            <a:cxnSpLocks/>
          </p:cNvCxnSpPr>
          <p:nvPr/>
        </p:nvCxnSpPr>
        <p:spPr>
          <a:xfrm flipH="1">
            <a:off x="9692640" y="5214188"/>
            <a:ext cx="194609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Arrow Connector 88">
            <a:extLst>
              <a:ext uri="{FF2B5EF4-FFF2-40B4-BE49-F238E27FC236}">
                <a16:creationId xmlns:a16="http://schemas.microsoft.com/office/drawing/2014/main" id="{E40919A5-1372-68E0-E832-53193A5AF9DF}"/>
              </a:ext>
            </a:extLst>
          </p:cNvPr>
          <p:cNvCxnSpPr>
            <a:cxnSpLocks/>
          </p:cNvCxnSpPr>
          <p:nvPr/>
        </p:nvCxnSpPr>
        <p:spPr>
          <a:xfrm rot="10800000">
            <a:off x="9750426" y="5464702"/>
            <a:ext cx="1887499" cy="612735"/>
          </a:xfrm>
          <a:prstGeom prst="bentConnector3">
            <a:avLst>
              <a:gd fmla="val 100464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Rectangle 158">
            <a:extLst>
              <a:ext uri="{FF2B5EF4-FFF2-40B4-BE49-F238E27FC236}">
                <a16:creationId xmlns:a16="http://schemas.microsoft.com/office/drawing/2014/main" id="{E5EE1A09-F5A7-8457-0D96-7DF308560436}"/>
              </a:ext>
            </a:extLst>
          </p:cNvPr>
          <p:cNvSpPr/>
          <p:nvPr/>
        </p:nvSpPr>
        <p:spPr>
          <a:xfrm>
            <a:off x="10340234" y="4315128"/>
            <a:ext cx="1298503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Main switch ATEX</a:t>
            </a:r>
          </a:p>
        </p:txBody>
      </p:sp>
      <p:cxnSp>
        <p:nvCxnSpPr>
          <p:cNvPr id="160" name="Straight Arrow Connector 88">
            <a:extLst>
              <a:ext uri="{FF2B5EF4-FFF2-40B4-BE49-F238E27FC236}">
                <a16:creationId xmlns:a16="http://schemas.microsoft.com/office/drawing/2014/main" id="{087260D9-1C07-35C4-0C47-CA65A571E26D}"/>
              </a:ext>
            </a:extLst>
          </p:cNvPr>
          <p:cNvCxnSpPr>
            <a:cxnSpLocks/>
          </p:cNvCxnSpPr>
          <p:nvPr/>
        </p:nvCxnSpPr>
        <p:spPr>
          <a:xfrm flipH="1">
            <a:off x="9448819" y="937776"/>
            <a:ext cx="1915131" cy="0"/>
          </a:xfrm>
          <a:prstGeom prst="straightConnector1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73">
            <a:extLst>
              <a:ext uri="{FF2B5EF4-FFF2-40B4-BE49-F238E27FC236}">
                <a16:creationId xmlns:a16="http://schemas.microsoft.com/office/drawing/2014/main" id="{D97DB4FF-61B9-67A0-F6BB-8C8130B7A14C}"/>
              </a:ext>
            </a:extLst>
          </p:cNvPr>
          <p:cNvSpPr/>
          <p:nvPr/>
        </p:nvSpPr>
        <p:spPr>
          <a:xfrm>
            <a:off x="9424097" y="3537087"/>
            <a:ext cx="1949378" cy="370827"/>
          </a:xfrm>
          <a:prstGeom prst="rect">
            <a:avLst/>
          </a:prstGeom>
        </p:spPr>
        <p:txBody>
          <a:bodyPr bIns="91440" lIns="0" rIns="0" tIns="90000"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100"/>
              <a:t>Accessories holder</a:t>
            </a:r>
          </a:p>
        </p:txBody>
      </p:sp>
      <p:cxnSp>
        <p:nvCxnSpPr>
          <p:cNvPr id="175" name="Straight Arrow Connector 88">
            <a:extLst>
              <a:ext uri="{FF2B5EF4-FFF2-40B4-BE49-F238E27FC236}">
                <a16:creationId xmlns:a16="http://schemas.microsoft.com/office/drawing/2014/main" id="{DA25D3A4-0E41-79DB-273C-6EAE59654D43}"/>
              </a:ext>
            </a:extLst>
          </p:cNvPr>
          <p:cNvCxnSpPr>
            <a:cxnSpLocks/>
          </p:cNvCxnSpPr>
          <p:nvPr/>
        </p:nvCxnSpPr>
        <p:spPr>
          <a:xfrm flipH="1">
            <a:off x="9751412" y="3532507"/>
            <a:ext cx="1252539" cy="0"/>
          </a:xfrm>
          <a:prstGeom prst="straightConnector1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033ACD5B-052E-8932-0231-A2DA85C348E0}"/>
              </a:ext>
            </a:extLst>
          </p:cNvPr>
          <p:cNvGrpSpPr/>
          <p:nvPr/>
        </p:nvGrpSpPr>
        <p:grpSpPr>
          <a:xfrm>
            <a:off x="9974072" y="3067921"/>
            <a:ext cx="823504" cy="467264"/>
            <a:chOff x="9974072" y="3014581"/>
            <a:chExt cx="823504" cy="361528"/>
          </a:xfrm>
        </p:grpSpPr>
        <p:cxnSp>
          <p:nvCxnSpPr>
            <p:cNvPr id="184" name="Straight Arrow Connector 88">
              <a:extLst>
                <a:ext uri="{FF2B5EF4-FFF2-40B4-BE49-F238E27FC236}">
                  <a16:creationId xmlns:a16="http://schemas.microsoft.com/office/drawing/2014/main" id="{35A71F22-C205-C6AF-A219-C22FEAEF29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74072" y="3014581"/>
              <a:ext cx="0" cy="36152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Arrow Connector 88">
              <a:extLst>
                <a:ext uri="{FF2B5EF4-FFF2-40B4-BE49-F238E27FC236}">
                  <a16:creationId xmlns:a16="http://schemas.microsoft.com/office/drawing/2014/main" id="{707592D5-1B8A-0E76-E677-03888B4D1B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97576" y="3014581"/>
              <a:ext cx="0" cy="36152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34">
            <a:extLst>
              <a:ext uri="{FF2B5EF4-FFF2-40B4-BE49-F238E27FC236}">
                <a16:creationId xmlns:a16="http://schemas.microsoft.com/office/drawing/2014/main" id="{FCC4A910-6197-B7DB-7190-37C99CEED010}"/>
              </a:ext>
            </a:extLst>
          </p:cNvPr>
          <p:cNvPicPr>
            <a:picLocks noChangeAspect="1"/>
          </p:cNvPicPr>
          <p:nvPr/>
        </p:nvPicPr>
        <p:blipFill>
          <a:blip cstate="email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67" y="5730977"/>
            <a:ext cx="940546" cy="33096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mmagine 45">
            <a:extLst>
              <a:ext uri="{FF2B5EF4-FFF2-40B4-BE49-F238E27FC236}">
                <a16:creationId xmlns:a16="http://schemas.microsoft.com/office/drawing/2014/main" id="{83BFBFCF-9038-3690-337C-C2C85A0E2BB1}"/>
              </a:ext>
            </a:extLst>
          </p:cNvPr>
          <p:cNvPicPr>
            <a:picLocks noChangeAspect="1"/>
          </p:cNvPicPr>
          <p:nvPr/>
        </p:nvPicPr>
        <p:blipFill>
          <a:blip cstate="email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5440" y="5730622"/>
            <a:ext cx="826170" cy="32605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BB5597E-1BB5-91FB-2FA7-CAA2727207DD}"/>
              </a:ext>
            </a:extLst>
          </p:cNvPr>
          <p:cNvSpPr/>
          <p:nvPr/>
        </p:nvSpPr>
        <p:spPr>
          <a:xfrm>
            <a:off x="479422" y="5118258"/>
            <a:ext cx="3155319" cy="279948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Antistatic wheels</a:t>
            </a:r>
          </a:p>
        </p:txBody>
      </p:sp>
      <p:cxnSp>
        <p:nvCxnSpPr>
          <p:cNvPr id="13" name="Straight Arrow Connector 38">
            <a:extLst>
              <a:ext uri="{FF2B5EF4-FFF2-40B4-BE49-F238E27FC236}">
                <a16:creationId xmlns:a16="http://schemas.microsoft.com/office/drawing/2014/main" id="{C35832F1-CA77-5634-0810-0D6F51F51E7E}"/>
              </a:ext>
            </a:extLst>
          </p:cNvPr>
          <p:cNvCxnSpPr>
            <a:cxnSpLocks/>
          </p:cNvCxnSpPr>
          <p:nvPr/>
        </p:nvCxnSpPr>
        <p:spPr>
          <a:xfrm>
            <a:off x="475521" y="5398206"/>
            <a:ext cx="3477354" cy="281722"/>
          </a:xfrm>
          <a:prstGeom prst="bentConnector3">
            <a:avLst>
              <a:gd fmla="val 100126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3CCD2B4F-3875-2DBE-ADED-22579C0FFD99}"/>
              </a:ext>
            </a:extLst>
          </p:cNvPr>
          <p:cNvSpPr/>
          <p:nvPr/>
        </p:nvSpPr>
        <p:spPr>
          <a:xfrm>
            <a:off x="479422" y="1439742"/>
            <a:ext cx="3003556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dirty="0" lang="en-US" sz="1100"/>
              <a:t>Vacuum gauge for a constant monitoring of the performance and filtration efficiency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DB71E07-C9C8-3D3D-1CD9-691D35DD5C2B}"/>
              </a:ext>
            </a:extLst>
          </p:cNvPr>
          <p:cNvCxnSpPr>
            <a:cxnSpLocks/>
          </p:cNvCxnSpPr>
          <p:nvPr/>
        </p:nvCxnSpPr>
        <p:spPr>
          <a:xfrm>
            <a:off x="478619" y="1917965"/>
            <a:ext cx="4155121" cy="372513"/>
          </a:xfrm>
          <a:prstGeom prst="bentConnector3">
            <a:avLst>
              <a:gd fmla="val 100065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88">
            <a:extLst>
              <a:ext uri="{FF2B5EF4-FFF2-40B4-BE49-F238E27FC236}">
                <a16:creationId xmlns:a16="http://schemas.microsoft.com/office/drawing/2014/main" id="{A0428FE2-D149-CB48-9D72-B795C333C848}"/>
              </a:ext>
            </a:extLst>
          </p:cNvPr>
          <p:cNvCxnSpPr>
            <a:cxnSpLocks/>
          </p:cNvCxnSpPr>
          <p:nvPr/>
        </p:nvCxnSpPr>
        <p:spPr>
          <a:xfrm flipH="1">
            <a:off x="5317934" y="4595076"/>
            <a:ext cx="295844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8">
            <a:extLst>
              <a:ext uri="{FF2B5EF4-FFF2-40B4-BE49-F238E27FC236}">
                <a16:creationId xmlns:a16="http://schemas.microsoft.com/office/drawing/2014/main" id="{31D6BB24-E093-2EDA-B61B-27615CE4AB77}"/>
              </a:ext>
            </a:extLst>
          </p:cNvPr>
          <p:cNvCxnSpPr>
            <a:cxnSpLocks/>
          </p:cNvCxnSpPr>
          <p:nvPr/>
        </p:nvCxnSpPr>
        <p:spPr>
          <a:xfrm flipV="1" rot="10800000">
            <a:off x="5396484" y="1925878"/>
            <a:ext cx="2879899" cy="111583"/>
          </a:xfrm>
          <a:prstGeom prst="bentConnector3">
            <a:avLst>
              <a:gd fmla="val 99942" name="adj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86">
            <a:extLst>
              <a:ext uri="{FF2B5EF4-FFF2-40B4-BE49-F238E27FC236}">
                <a16:creationId xmlns:a16="http://schemas.microsoft.com/office/drawing/2014/main" id="{026150D5-B7B5-5931-E3CB-C954F154BFE4}"/>
              </a:ext>
            </a:extLst>
          </p:cNvPr>
          <p:cNvSpPr/>
          <p:nvPr/>
        </p:nvSpPr>
        <p:spPr>
          <a:xfrm>
            <a:off x="9027920" y="1159558"/>
            <a:ext cx="1298503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Power cord</a:t>
            </a:r>
          </a:p>
          <a:p>
            <a:pPr>
              <a:lnSpc>
                <a:spcPct val="120000"/>
              </a:lnSpc>
            </a:pPr>
            <a:r>
              <a:rPr lang="en-US" sz="1100"/>
              <a:t>9 meter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6E80D7CD-AEBE-2509-9502-843F7FB2B500}"/>
              </a:ext>
            </a:extLst>
          </p:cNvPr>
          <p:cNvSpPr/>
          <p:nvPr/>
        </p:nvSpPr>
        <p:spPr>
          <a:xfrm>
            <a:off x="10786458" y="1159558"/>
            <a:ext cx="852279" cy="483081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/>
              <a:t>Plug </a:t>
            </a:r>
            <a:br>
              <a:rPr lang="en-US" sz="1100"/>
            </a:br>
            <a:r>
              <a:rPr lang="en-US" sz="1100"/>
              <a:t>2P+T </a:t>
            </a:r>
          </a:p>
        </p:txBody>
      </p:sp>
      <p:cxnSp>
        <p:nvCxnSpPr>
          <p:cNvPr id="90" name="Straight Arrow Connector 88">
            <a:extLst>
              <a:ext uri="{FF2B5EF4-FFF2-40B4-BE49-F238E27FC236}">
                <a16:creationId xmlns:a16="http://schemas.microsoft.com/office/drawing/2014/main" id="{E60FFE8E-EDF7-0DA4-595F-58B4964E91E5}"/>
              </a:ext>
            </a:extLst>
          </p:cNvPr>
          <p:cNvCxnSpPr>
            <a:cxnSpLocks/>
          </p:cNvCxnSpPr>
          <p:nvPr/>
        </p:nvCxnSpPr>
        <p:spPr>
          <a:xfrm>
            <a:off x="9027920" y="1644052"/>
            <a:ext cx="9733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88">
            <a:extLst>
              <a:ext uri="{FF2B5EF4-FFF2-40B4-BE49-F238E27FC236}">
                <a16:creationId xmlns:a16="http://schemas.microsoft.com/office/drawing/2014/main" id="{C73C1666-12D5-E5E1-8572-33A9DBAE0E95}"/>
              </a:ext>
            </a:extLst>
          </p:cNvPr>
          <p:cNvCxnSpPr>
            <a:cxnSpLocks/>
          </p:cNvCxnSpPr>
          <p:nvPr/>
        </p:nvCxnSpPr>
        <p:spPr>
          <a:xfrm flipH="1">
            <a:off x="10664048" y="1644052"/>
            <a:ext cx="9733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97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77AFB0F-0051-A142-E3B0-7673C0EB4DBA}"/>
              </a:ext>
            </a:extLst>
          </p:cNvPr>
          <p:cNvSpPr/>
          <p:nvPr/>
        </p:nvSpPr>
        <p:spPr>
          <a:xfrm>
            <a:off x="7045378" y="0"/>
            <a:ext cx="514662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584A03-EF59-43FC-E936-9D34939427DD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r>
              <a:rPr lang="en-US"/>
              <a:t>VHS011 LC ACD VHS010 LC/HC AC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BF62C9-833F-3CCB-FF38-C01A34423D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features and design ACD model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BA3721-9317-C8E5-74FE-9532531890C0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89AAFD-F8EA-E3AB-434E-388EE7659786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23" name="Immagine 78">
            <a:extLst>
              <a:ext uri="{FF2B5EF4-FFF2-40B4-BE49-F238E27FC236}">
                <a16:creationId xmlns:a16="http://schemas.microsoft.com/office/drawing/2014/main" id="{3BBEBAAF-E580-1372-50B0-2FEDA9CB535C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6"/>
          <a:stretch/>
        </p:blipFill>
        <p:spPr>
          <a:xfrm>
            <a:off x="7325494" y="150906"/>
            <a:ext cx="4586390" cy="2867586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0FD84FA8-428C-C805-4945-A6A972EE08BD}"/>
              </a:ext>
            </a:extLst>
          </p:cNvPr>
          <p:cNvSpPr/>
          <p:nvPr/>
        </p:nvSpPr>
        <p:spPr>
          <a:xfrm>
            <a:off x="7392203" y="3308168"/>
            <a:ext cx="4320372" cy="686213"/>
          </a:xfrm>
          <a:prstGeom prst="rect">
            <a:avLst/>
          </a:prstGeom>
        </p:spPr>
        <p:txBody>
          <a:bodyPr bIns="9144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>
                <a:latin charset="0" panose="02000000000000000000" pitchFamily="2" typeface="Roboto Bold"/>
              </a:rPr>
              <a:t>ACD motor head has some difference from the Z22 / C2D2 versions.</a:t>
            </a:r>
          </a:p>
          <a:p>
            <a:pPr>
              <a:lnSpc>
                <a:spcPct val="120000"/>
              </a:lnSpc>
            </a:pPr>
            <a:r>
              <a:rPr lang="en-US" sz="1100"/>
              <a:t>All other parts not  described in this ACD deep dive are the same </a:t>
            </a:r>
            <a:br>
              <a:rPr lang="en-US" sz="1100"/>
            </a:br>
            <a:r>
              <a:rPr lang="en-US" sz="1100"/>
              <a:t>of Z22 / C2D2 variant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5F082703-A6DF-2FB1-EC11-6B5F8294BA5D}"/>
              </a:ext>
            </a:extLst>
          </p:cNvPr>
          <p:cNvSpPr/>
          <p:nvPr/>
        </p:nvSpPr>
        <p:spPr>
          <a:xfrm>
            <a:off x="8518115" y="1573664"/>
            <a:ext cx="269870" cy="26987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lang="en-US" sz="1100">
                <a:solidFill>
                  <a:schemeClr val="bg1"/>
                </a:solidFill>
                <a:latin charset="0" panose="02000000000000000000" pitchFamily="2" typeface="Roboto Bold"/>
              </a:rPr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F67E44DD-B013-0EFA-10B9-F584E6B4767A}"/>
              </a:ext>
            </a:extLst>
          </p:cNvPr>
          <p:cNvSpPr/>
          <p:nvPr/>
        </p:nvSpPr>
        <p:spPr>
          <a:xfrm>
            <a:off x="9102311" y="1736042"/>
            <a:ext cx="269870" cy="26987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lang="en-US" sz="1100">
                <a:solidFill>
                  <a:schemeClr val="bg1"/>
                </a:solidFill>
                <a:latin charset="0" panose="02000000000000000000" pitchFamily="2" typeface="Roboto Bold"/>
              </a:rPr>
              <a:t>2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688CA91-1C48-35AE-F665-471B5C50592C}"/>
              </a:ext>
            </a:extLst>
          </p:cNvPr>
          <p:cNvSpPr/>
          <p:nvPr/>
        </p:nvSpPr>
        <p:spPr>
          <a:xfrm>
            <a:off x="9710736" y="1376993"/>
            <a:ext cx="269870" cy="26987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lang="en-US" sz="1100">
                <a:solidFill>
                  <a:schemeClr val="bg1"/>
                </a:solidFill>
                <a:latin charset="0" panose="02000000000000000000" pitchFamily="2" typeface="Roboto Bold"/>
              </a:rPr>
              <a:t>3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6E88729-06B2-C7C8-764D-C36D33E1B781}"/>
              </a:ext>
            </a:extLst>
          </p:cNvPr>
          <p:cNvSpPr/>
          <p:nvPr/>
        </p:nvSpPr>
        <p:spPr>
          <a:xfrm>
            <a:off x="10811310" y="1358252"/>
            <a:ext cx="269870" cy="269870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lang="en-US" sz="1100">
                <a:solidFill>
                  <a:schemeClr val="bg1"/>
                </a:solidFill>
                <a:latin charset="0" panose="02000000000000000000" pitchFamily="2" typeface="Roboto Bold"/>
              </a:rPr>
              <a:t>4</a:t>
            </a:r>
          </a:p>
        </p:txBody>
      </p:sp>
      <p:graphicFrame>
        <p:nvGraphicFramePr>
          <p:cNvPr id="50" name="Table 6">
            <a:extLst>
              <a:ext uri="{FF2B5EF4-FFF2-40B4-BE49-F238E27FC236}">
                <a16:creationId xmlns:a16="http://schemas.microsoft.com/office/drawing/2014/main" id="{400B9EBF-90A0-E5A0-8B6D-B677E69B09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753416"/>
              </p:ext>
            </p:extLst>
          </p:nvPr>
        </p:nvGraphicFramePr>
        <p:xfrm>
          <a:off x="7388298" y="4127963"/>
          <a:ext cx="4324277" cy="1856160"/>
        </p:xfrm>
        <a:graphic>
          <a:graphicData uri="http://schemas.openxmlformats.org/drawingml/2006/table">
            <a:tbl>
              <a:tblPr bandRow="1" firstRow="1">
                <a:tableStyleId>{2D5ABB26-0587-4C30-8999-92F81FD0307C}</a:tableStyleId>
              </a:tblPr>
              <a:tblGrid>
                <a:gridCol w="357127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  <a:gridCol w="3967150">
                  <a:extLst>
                    <a:ext uri="{9D8B030D-6E8A-4147-A177-3AD203B41FA5}">
                      <a16:colId xmlns:a16="http://schemas.microsoft.com/office/drawing/2014/main" val="361268256"/>
                    </a:ext>
                  </a:extLst>
                </a:gridCol>
              </a:tblGrid>
              <a:tr h="323595">
                <a:tc>
                  <a:txBody>
                    <a:bodyPr/>
                    <a:lstStyle/>
                    <a:p>
                      <a:pPr algn="l"/>
                      <a:r>
                        <a:rPr baseline="0" lang="en-US" sz="2000">
                          <a:solidFill>
                            <a:schemeClr val="accent3"/>
                          </a:solidFill>
                        </a:rPr>
                        <a:t>1</a:t>
                      </a:r>
                      <a:endParaRPr baseline="0" dirty="0" lang="en-US" sz="2000">
                        <a:solidFill>
                          <a:schemeClr val="accent3"/>
                        </a:solidFill>
                      </a:endParaRPr>
                    </a:p>
                  </a:txBody>
                  <a:tcPr anchor="ctr" marB="72000" marL="0" marR="0" marT="72000">
                    <a:lnT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aseline="0" lang="en-US" sz="1100"/>
                        <a:t>Vacuum gauge for a constant monitoring of the performance and filtration efficiency</a:t>
                      </a:r>
                    </a:p>
                  </a:txBody>
                  <a:tcPr anchor="ctr" marB="72000" marL="0" marR="0" marT="72000">
                    <a:lnT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39721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baseline="0" lang="en-US" sz="2000">
                          <a:solidFill>
                            <a:schemeClr val="accent3"/>
                          </a:solidFill>
                        </a:rPr>
                        <a:t>2</a:t>
                      </a:r>
                      <a:endParaRPr baseline="0" dirty="0" lang="en-US" sz="2000">
                        <a:solidFill>
                          <a:schemeClr val="accent3"/>
                        </a:solidFill>
                      </a:endParaRPr>
                    </a:p>
                  </a:txBody>
                  <a:tcPr anchor="ctr" marB="72000" marL="0" marR="0" marT="72000">
                    <a:lnT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aseline="0" lang="en-US" sz="1100"/>
                        <a:t>Standard main switch with green light</a:t>
                      </a:r>
                    </a:p>
                  </a:txBody>
                  <a:tcPr anchor="ctr" marB="72000" marL="0" marR="0" marT="72000">
                    <a:lnT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baseline="0" lang="en-US" sz="2000">
                          <a:solidFill>
                            <a:schemeClr val="accent3"/>
                          </a:solidFill>
                        </a:rPr>
                        <a:t>3</a:t>
                      </a:r>
                      <a:endParaRPr baseline="0" dirty="0" lang="en-US" sz="2000">
                        <a:solidFill>
                          <a:schemeClr val="accent3"/>
                        </a:solidFill>
                      </a:endParaRPr>
                    </a:p>
                  </a:txBody>
                  <a:tcPr anchor="ctr" marB="72000" marL="0" marR="0" marT="72000">
                    <a:lnT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aseline="0" lang="en-US" sz="1100"/>
                        <a:t>Quiet – only 70 dB(A) level noise</a:t>
                      </a:r>
                    </a:p>
                  </a:txBody>
                  <a:tcPr anchor="ctr" marB="72000" marL="0" marR="0" marT="72000">
                    <a:lnT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44044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baseline="0" lang="en-US" sz="2000">
                          <a:solidFill>
                            <a:schemeClr val="accent3"/>
                          </a:solidFill>
                        </a:rPr>
                        <a:t>4</a:t>
                      </a:r>
                      <a:endParaRPr baseline="0" dirty="0" lang="en-US" sz="2000">
                        <a:solidFill>
                          <a:schemeClr val="accent3"/>
                        </a:solidFill>
                      </a:endParaRPr>
                    </a:p>
                  </a:txBody>
                  <a:tcPr anchor="ctr" marB="72000" marL="0" marR="0" marT="72000">
                    <a:lnT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aseline="0" lang="en-US" sz="1100"/>
                        <a:t>Light weight conductive plastic motor-head enclosure with a protection rate IP44</a:t>
                      </a:r>
                    </a:p>
                  </a:txBody>
                  <a:tcPr anchor="ctr" marB="72000" marL="0" marR="0" marT="72000">
                    <a:lnT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6062661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773CC8B2-E938-60A8-BD8B-E91EE6BF9057}"/>
              </a:ext>
            </a:extLst>
          </p:cNvPr>
          <p:cNvGrpSpPr/>
          <p:nvPr/>
        </p:nvGrpSpPr>
        <p:grpSpPr>
          <a:xfrm>
            <a:off x="3122180" y="2071525"/>
            <a:ext cx="3367173" cy="3488789"/>
            <a:chOff x="5002449" y="1806913"/>
            <a:chExt cx="3367173" cy="3488789"/>
          </a:xfrm>
        </p:grpSpPr>
        <p:pic>
          <p:nvPicPr>
            <p:cNvPr id="15" name="Immagine 19">
              <a:extLst>
                <a:ext uri="{FF2B5EF4-FFF2-40B4-BE49-F238E27FC236}">
                  <a16:creationId xmlns:a16="http://schemas.microsoft.com/office/drawing/2014/main" id="{FB42B2B2-BA9C-7495-3676-5B01E594F6AA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>
              <a:off x="5765746" y="2491535"/>
              <a:ext cx="2043490" cy="2183186"/>
            </a:xfrm>
            <a:prstGeom prst="rect">
              <a:avLst/>
            </a:prstGeom>
          </p:spPr>
        </p:pic>
        <p:cxnSp>
          <p:nvCxnSpPr>
            <p:cNvPr id="16" name="Straight Arrow Connector 88">
              <a:extLst>
                <a:ext uri="{FF2B5EF4-FFF2-40B4-BE49-F238E27FC236}">
                  <a16:creationId xmlns:a16="http://schemas.microsoft.com/office/drawing/2014/main" id="{9EA9615B-9847-5F4C-7416-D800DE5D04AF}"/>
                </a:ext>
              </a:extLst>
            </p:cNvPr>
            <p:cNvCxnSpPr>
              <a:cxnSpLocks/>
              <a:stCxn id="21" idx="2"/>
            </p:cNvCxnSpPr>
            <p:nvPr/>
          </p:nvCxnSpPr>
          <p:spPr>
            <a:xfrm flipH="1">
              <a:off x="6790582" y="2086861"/>
              <a:ext cx="6590" cy="139995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679CAA-FA6A-D46A-805C-1A24525683F1}"/>
                </a:ext>
              </a:extLst>
            </p:cNvPr>
            <p:cNvSpPr/>
            <p:nvPr/>
          </p:nvSpPr>
          <p:spPr>
            <a:xfrm>
              <a:off x="5822483" y="1806913"/>
              <a:ext cx="1949378" cy="279948"/>
            </a:xfrm>
            <a:prstGeom prst="rect">
              <a:avLst/>
            </a:prstGeom>
          </p:spPr>
          <p:txBody>
            <a:bodyPr bIns="91440" lIns="0" rIns="0" tIns="0"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100"/>
                <a:t>Handle and power cord holder</a:t>
              </a:r>
            </a:p>
          </p:txBody>
        </p:sp>
        <p:cxnSp>
          <p:nvCxnSpPr>
            <p:cNvPr id="22" name="Straight Arrow Connector 88">
              <a:extLst>
                <a:ext uri="{FF2B5EF4-FFF2-40B4-BE49-F238E27FC236}">
                  <a16:creationId xmlns:a16="http://schemas.microsoft.com/office/drawing/2014/main" id="{AFAE219B-B46D-A7BD-C8D1-667FD334EB9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47205" y="2087987"/>
              <a:ext cx="1915131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E944084-8A2A-6548-47DF-6D9D1B8EA74E}"/>
                </a:ext>
              </a:extLst>
            </p:cNvPr>
            <p:cNvSpPr/>
            <p:nvPr/>
          </p:nvSpPr>
          <p:spPr>
            <a:xfrm>
              <a:off x="5020306" y="3261884"/>
              <a:ext cx="1298503" cy="279948"/>
            </a:xfrm>
            <a:prstGeom prst="rect">
              <a:avLst/>
            </a:prstGeom>
          </p:spPr>
          <p:txBody>
            <a:bodyPr bIns="91440" lIns="0" rIns="0" tIns="0"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00"/>
                <a:t>Schuko plug (EU)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1DE8CE6-5DD5-B0C2-BACF-2460A2510E12}"/>
                </a:ext>
              </a:extLst>
            </p:cNvPr>
            <p:cNvSpPr/>
            <p:nvPr/>
          </p:nvSpPr>
          <p:spPr>
            <a:xfrm>
              <a:off x="7137215" y="2485645"/>
              <a:ext cx="1232407" cy="483081"/>
            </a:xfrm>
            <a:prstGeom prst="rect">
              <a:avLst/>
            </a:prstGeom>
          </p:spPr>
          <p:txBody>
            <a:bodyPr bIns="91440" lIns="0" rIns="0" tIns="0" wrap="square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1100"/>
                <a:t>Power cord </a:t>
              </a:r>
              <a:br>
                <a:rPr lang="en-US" sz="1100"/>
              </a:br>
              <a:r>
                <a:rPr lang="en-US" sz="1100"/>
                <a:t>9 meters</a:t>
              </a:r>
            </a:p>
          </p:txBody>
        </p:sp>
        <p:cxnSp>
          <p:nvCxnSpPr>
            <p:cNvPr id="34" name="Straight Arrow Connector 88">
              <a:extLst>
                <a:ext uri="{FF2B5EF4-FFF2-40B4-BE49-F238E27FC236}">
                  <a16:creationId xmlns:a16="http://schemas.microsoft.com/office/drawing/2014/main" id="{D408BA41-C912-235C-5646-F27B45478F4F}"/>
                </a:ext>
              </a:extLst>
            </p:cNvPr>
            <p:cNvCxnSpPr>
              <a:cxnSpLocks/>
            </p:cNvCxnSpPr>
            <p:nvPr/>
          </p:nvCxnSpPr>
          <p:spPr>
            <a:xfrm>
              <a:off x="5002449" y="3538863"/>
              <a:ext cx="1436451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88">
              <a:extLst>
                <a:ext uri="{FF2B5EF4-FFF2-40B4-BE49-F238E27FC236}">
                  <a16:creationId xmlns:a16="http://schemas.microsoft.com/office/drawing/2014/main" id="{A94558C9-0AFD-E3E9-75F7-F57705B949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948488" y="2965376"/>
              <a:ext cx="1421134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4E89B50-3086-FFCA-DC6A-5F7190059ADE}"/>
                </a:ext>
              </a:extLst>
            </p:cNvPr>
            <p:cNvSpPr/>
            <p:nvPr/>
          </p:nvSpPr>
          <p:spPr>
            <a:xfrm>
              <a:off x="6149908" y="4924875"/>
              <a:ext cx="1256050" cy="370827"/>
            </a:xfrm>
            <a:prstGeom prst="rect">
              <a:avLst/>
            </a:prstGeom>
          </p:spPr>
          <p:txBody>
            <a:bodyPr bIns="91440" lIns="0" rIns="0" tIns="90000"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100"/>
                <a:t>Accessories holder</a:t>
              </a:r>
            </a:p>
          </p:txBody>
        </p:sp>
        <p:cxnSp>
          <p:nvCxnSpPr>
            <p:cNvPr id="43" name="Straight Arrow Connector 88">
              <a:extLst>
                <a:ext uri="{FF2B5EF4-FFF2-40B4-BE49-F238E27FC236}">
                  <a16:creationId xmlns:a16="http://schemas.microsoft.com/office/drawing/2014/main" id="{14C532F3-C8EA-008E-EB15-0BD93CA866A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49908" y="4920295"/>
              <a:ext cx="1252539" cy="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EC8AD92-3AD8-998B-07D5-48DF80E93A13}"/>
                </a:ext>
              </a:extLst>
            </p:cNvPr>
            <p:cNvGrpSpPr/>
            <p:nvPr/>
          </p:nvGrpSpPr>
          <p:grpSpPr>
            <a:xfrm>
              <a:off x="6372568" y="4450946"/>
              <a:ext cx="823504" cy="467264"/>
              <a:chOff x="9974072" y="3014581"/>
              <a:chExt cx="823504" cy="361528"/>
            </a:xfrm>
          </p:grpSpPr>
          <p:cxnSp>
            <p:nvCxnSpPr>
              <p:cNvPr id="51" name="Straight Arrow Connector 88">
                <a:extLst>
                  <a:ext uri="{FF2B5EF4-FFF2-40B4-BE49-F238E27FC236}">
                    <a16:creationId xmlns:a16="http://schemas.microsoft.com/office/drawing/2014/main" id="{F5C2A333-12B1-7A37-F399-F40EC25295F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974072" y="3014581"/>
                <a:ext cx="0" cy="361528"/>
              </a:xfrm>
              <a:prstGeom prst="straightConnector1">
                <a:avLst/>
              </a:prstGeom>
              <a:ln>
                <a:solidFill>
                  <a:schemeClr val="accent3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88">
                <a:extLst>
                  <a:ext uri="{FF2B5EF4-FFF2-40B4-BE49-F238E27FC236}">
                    <a16:creationId xmlns:a16="http://schemas.microsoft.com/office/drawing/2014/main" id="{3696B9B4-A377-C5C5-7198-F456DBFB5B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797576" y="3014581"/>
                <a:ext cx="0" cy="361528"/>
              </a:xfrm>
              <a:prstGeom prst="straightConnector1">
                <a:avLst/>
              </a:prstGeom>
              <a:ln>
                <a:solidFill>
                  <a:schemeClr val="accent3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CA8A596-E24E-79FC-4C96-29AB328C67E9}"/>
              </a:ext>
            </a:extLst>
          </p:cNvPr>
          <p:cNvGrpSpPr/>
          <p:nvPr/>
        </p:nvGrpSpPr>
        <p:grpSpPr>
          <a:xfrm>
            <a:off x="337182" y="3902236"/>
            <a:ext cx="2228974" cy="2054550"/>
            <a:chOff x="9060432" y="3261884"/>
            <a:chExt cx="2620752" cy="2415671"/>
          </a:xfrm>
        </p:grpSpPr>
        <p:pic>
          <p:nvPicPr>
            <p:cNvPr id="68" name="Immagine 28">
              <a:extLst>
                <a:ext uri="{FF2B5EF4-FFF2-40B4-BE49-F238E27FC236}">
                  <a16:creationId xmlns:a16="http://schemas.microsoft.com/office/drawing/2014/main" id="{BED6FF96-30B2-6C4A-93F5-3BA6551A5066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60432" y="3261884"/>
              <a:ext cx="1600261" cy="2415671"/>
            </a:xfrm>
            <a:prstGeom prst="rect">
              <a:avLst/>
            </a:prstGeom>
          </p:spPr>
        </p:pic>
        <p:pic>
          <p:nvPicPr>
            <p:cNvPr id="69" name="Immagine 73">
              <a:extLst>
                <a:ext uri="{FF2B5EF4-FFF2-40B4-BE49-F238E27FC236}">
                  <a16:creationId xmlns:a16="http://schemas.microsoft.com/office/drawing/2014/main" id="{3C1205DA-47B9-4A29-E0D1-E707631F166D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17374" y="3743034"/>
              <a:ext cx="1063810" cy="362079"/>
            </a:xfrm>
            <a:prstGeom prst="rect">
              <a:avLst/>
            </a:prstGeom>
          </p:spPr>
        </p:pic>
        <p:pic>
          <p:nvPicPr>
            <p:cNvPr id="70" name="Picture 34">
              <a:extLst>
                <a:ext uri="{FF2B5EF4-FFF2-40B4-BE49-F238E27FC236}">
                  <a16:creationId xmlns:a16="http://schemas.microsoft.com/office/drawing/2014/main" id="{41F3DB4F-0CDD-17CF-EA2A-790B9B3BA01B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17374" y="3327393"/>
              <a:ext cx="1011220" cy="355829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71" name="Immagine 45">
              <a:extLst>
                <a:ext uri="{FF2B5EF4-FFF2-40B4-BE49-F238E27FC236}">
                  <a16:creationId xmlns:a16="http://schemas.microsoft.com/office/drawing/2014/main" id="{DE34024A-E204-4C6C-97BD-D7A98F478001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17374" y="4164925"/>
              <a:ext cx="917443" cy="362078"/>
            </a:xfrm>
            <a:prstGeom prst="rect">
              <a:avLst/>
            </a:prstGeom>
          </p:spPr>
        </p:pic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3DBC5078-FC2C-6071-E6DD-C8C50F34C8CE}"/>
                </a:ext>
              </a:extLst>
            </p:cNvPr>
            <p:cNvSpPr/>
            <p:nvPr/>
          </p:nvSpPr>
          <p:spPr>
            <a:xfrm>
              <a:off x="9367155" y="4281799"/>
              <a:ext cx="342900" cy="3429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17A6C27-CCB6-05C1-6414-D36AFF440713}"/>
              </a:ext>
            </a:extLst>
          </p:cNvPr>
          <p:cNvGrpSpPr/>
          <p:nvPr/>
        </p:nvGrpSpPr>
        <p:grpSpPr>
          <a:xfrm>
            <a:off x="315909" y="1646862"/>
            <a:ext cx="2217862" cy="2182905"/>
            <a:chOff x="9073497" y="680736"/>
            <a:chExt cx="2607687" cy="2566586"/>
          </a:xfrm>
        </p:grpSpPr>
        <p:pic>
          <p:nvPicPr>
            <p:cNvPr id="74" name="Immagine 13">
              <a:extLst>
                <a:ext uri="{FF2B5EF4-FFF2-40B4-BE49-F238E27FC236}">
                  <a16:creationId xmlns:a16="http://schemas.microsoft.com/office/drawing/2014/main" id="{83B01223-FCDA-0DE1-3074-05B964E1C4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email"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73497" y="680736"/>
              <a:ext cx="1636413" cy="2566586"/>
            </a:xfrm>
            <a:prstGeom prst="rect">
              <a:avLst/>
            </a:prstGeom>
          </p:spPr>
        </p:pic>
        <p:pic>
          <p:nvPicPr>
            <p:cNvPr id="75" name="Immagine 73">
              <a:extLst>
                <a:ext uri="{FF2B5EF4-FFF2-40B4-BE49-F238E27FC236}">
                  <a16:creationId xmlns:a16="http://schemas.microsoft.com/office/drawing/2014/main" id="{0CDA0C7A-F6BE-32D7-7AD8-7B6E04D8FC98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17374" y="1180041"/>
              <a:ext cx="1063810" cy="362079"/>
            </a:xfrm>
            <a:prstGeom prst="rect">
              <a:avLst/>
            </a:prstGeom>
          </p:spPr>
        </p:pic>
        <p:pic>
          <p:nvPicPr>
            <p:cNvPr id="76" name="Picture 34">
              <a:extLst>
                <a:ext uri="{FF2B5EF4-FFF2-40B4-BE49-F238E27FC236}">
                  <a16:creationId xmlns:a16="http://schemas.microsoft.com/office/drawing/2014/main" id="{91217AF6-8D59-CD8B-E529-6F8757164FB3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17374" y="764400"/>
              <a:ext cx="1011220" cy="355829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B861FD8E-19EE-1559-3DAF-814BF690BDB6}"/>
                </a:ext>
              </a:extLst>
            </p:cNvPr>
            <p:cNvSpPr/>
            <p:nvPr/>
          </p:nvSpPr>
          <p:spPr>
            <a:xfrm>
              <a:off x="9382395" y="1806913"/>
              <a:ext cx="342900" cy="342900"/>
            </a:xfrm>
            <a:prstGeom prst="ellipse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D0F2E366-235F-765E-7BBC-484D3436D5FA}"/>
              </a:ext>
            </a:extLst>
          </p:cNvPr>
          <p:cNvSpPr/>
          <p:nvPr/>
        </p:nvSpPr>
        <p:spPr>
          <a:xfrm>
            <a:off x="948333" y="6035558"/>
            <a:ext cx="2375009" cy="187615"/>
          </a:xfrm>
          <a:prstGeom prst="rect">
            <a:avLst/>
          </a:prstGeom>
        </p:spPr>
        <p:txBody>
          <a:bodyPr anchor="ctr" anchorCtr="0" bIns="0" lIns="0" rIns="0" tIns="0"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/>
              <a:t>Standard inlet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7EA18E8D-DACA-5FA0-9714-DE1507016B7A}"/>
              </a:ext>
            </a:extLst>
          </p:cNvPr>
          <p:cNvSpPr/>
          <p:nvPr/>
        </p:nvSpPr>
        <p:spPr>
          <a:xfrm>
            <a:off x="576783" y="5984123"/>
            <a:ext cx="291640" cy="291640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25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BBCFC5B-D7E8-D9EA-2E37-64817C79D9C9}"/>
              </a:ext>
            </a:extLst>
          </p:cNvPr>
          <p:cNvSpPr>
            <a:spLocks noGrp="1"/>
          </p:cNvSpPr>
          <p:nvPr>
            <p:ph idx="23" sz="quarter"/>
          </p:nvPr>
        </p:nvSpPr>
        <p:spPr>
          <a:xfrm>
            <a:off x="3361796" y="1434164"/>
            <a:ext cx="2586038" cy="4786044"/>
          </a:xfrm>
        </p:spPr>
        <p:txBody>
          <a:bodyPr lIns="108000" rIns="108000" tIns="2560320"/>
          <a:lstStyle/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Accessories storage solution on machine – </a:t>
            </a: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space to store essential accessories required for the task.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Long life components – </a:t>
            </a:r>
            <a:r>
              <a:rPr dirty="0"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cartridge filters build with metal housing, use best materials.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Low TCO – </a:t>
            </a:r>
            <a:r>
              <a:rPr dirty="0" err="1"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PullClean</a:t>
            </a:r>
            <a:r>
              <a:rPr dirty="0"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 filter cleaning system perfectly keep efficient the filtration, less downtime and less maintenance.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6579999-FD25-9378-B44C-77E9C7BDA49D}"/>
              </a:ext>
            </a:extLst>
          </p:cNvPr>
          <p:cNvSpPr>
            <a:spLocks noGrp="1"/>
          </p:cNvSpPr>
          <p:nvPr>
            <p:ph idx="27" sz="quarter"/>
          </p:nvPr>
        </p:nvSpPr>
        <p:spPr>
          <a:xfrm>
            <a:off x="9126537" y="1434164"/>
            <a:ext cx="2586038" cy="4786044"/>
          </a:xfrm>
        </p:spPr>
        <p:txBody>
          <a:bodyPr lIns="108000" rIns="108000" tIns="2560320"/>
          <a:lstStyle/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Fit for purpose long life components – </a:t>
            </a: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brushless motor ensure incredible long-life, up to 10.000 hours; 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1 motors 950W achieve required </a:t>
            </a: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suction power – </a:t>
            </a:r>
            <a:r>
              <a:rPr dirty="0"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even with heaviest dust s like metal dusts, the collection is efficient and fast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24B920A-F5ED-2F19-FAEA-E8A2BEEF8708}"/>
              </a:ext>
            </a:extLst>
          </p:cNvPr>
          <p:cNvSpPr>
            <a:spLocks noGrp="1"/>
          </p:cNvSpPr>
          <p:nvPr>
            <p:ph idx="18" sz="quarter"/>
          </p:nvPr>
        </p:nvSpPr>
        <p:spPr>
          <a:xfrm>
            <a:off x="479425" y="1434164"/>
            <a:ext cx="2586038" cy="4786044"/>
          </a:xfrm>
        </p:spPr>
        <p:txBody>
          <a:bodyPr lIns="108000" rIns="108000" tIns="2560320"/>
          <a:lstStyle/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Electrical component externally installed, third party certified – </a:t>
            </a: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means highest level of safety for operators and business ‘s protection against useless risks.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Primary filter </a:t>
            </a: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M Class </a:t>
            </a: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– </a:t>
            </a: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optimal filtration of fine dusts; safe bag system protects operators' exposure.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HEPA14 Filtration – </a:t>
            </a:r>
            <a:r>
              <a:rPr dirty="0"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arrests 99,995% of particles, size range 0.1 - 0.2 </a:t>
            </a: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µ m.</a:t>
            </a:r>
            <a:endParaRPr dirty="0" lang="en-US" sz="1000">
              <a:latin charset="0" panose="02000000000000000000" pitchFamily="2" typeface="Roboto Light"/>
              <a:ea charset="0" panose="02000000000000000000" pitchFamily="2" typeface="Roboto Bold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1B4971-9BF9-39AB-FFEE-69FFBC5C4A01}"/>
              </a:ext>
            </a:extLst>
          </p:cNvPr>
          <p:cNvSpPr>
            <a:spLocks noGrp="1"/>
          </p:cNvSpPr>
          <p:nvPr>
            <p:ph idx="13" sz="quarter" type="body"/>
          </p:nvPr>
        </p:nvSpPr>
        <p:spPr>
          <a:xfrm>
            <a:off x="479425" y="3094344"/>
            <a:ext cx="2586038" cy="775354"/>
          </a:xfrm>
        </p:spPr>
        <p:txBody>
          <a:bodyPr lIns="180000" rIns="180000" tIns="108000"/>
          <a:lstStyle/>
          <a:p>
            <a:r>
              <a:rPr lang="it-IT" sz="1600"/>
              <a:t>Safety</a:t>
            </a:r>
          </a:p>
          <a:p>
            <a:r>
              <a:rPr b="0" i="1" lang="en-US" sz="1100">
                <a:solidFill>
                  <a:schemeClr val="tx2"/>
                </a:solidFill>
                <a:latin typeface="+mn-lt"/>
              </a:rPr>
              <a:t>Electrical components – Filtration – Operator protection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0543E58-8E9B-0041-0C7C-855A05BE5A2D}"/>
              </a:ext>
            </a:extLst>
          </p:cNvPr>
          <p:cNvSpPr>
            <a:spLocks noGrp="1"/>
          </p:cNvSpPr>
          <p:nvPr>
            <p:ph idx="25" sz="quarter"/>
          </p:nvPr>
        </p:nvSpPr>
        <p:spPr>
          <a:xfrm>
            <a:off x="6244167" y="1434164"/>
            <a:ext cx="2586038" cy="4786044"/>
          </a:xfrm>
        </p:spPr>
        <p:txBody>
          <a:bodyPr lIns="108000" rIns="108000" tIns="2560320"/>
          <a:lstStyle/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Reduced dimension and weight accessories where possible – </a:t>
            </a:r>
            <a:r>
              <a:rPr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e.g. floor nozzle reduced to 300 mm as the handgrip ,now also in two pieces. </a:t>
            </a:r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Incredibly maneuverable – </a:t>
            </a:r>
            <a:r>
              <a:rPr dirty="0" lang="en-US" sz="1000">
                <a:latin charset="0" panose="02000000000000000000" pitchFamily="2" typeface="Roboto Light"/>
                <a:ea charset="0" panose="02000000000000000000" pitchFamily="2" typeface="Roboto Bold"/>
              </a:rPr>
              <a:t>wheel-base and low weight makes the IVAC easy to move and control also in tight space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23597-D01F-EE17-9E73-408368DF130C}"/>
              </a:ext>
            </a:extLst>
          </p:cNvPr>
          <p:cNvSpPr>
            <a:spLocks noGrp="1"/>
          </p:cNvSpPr>
          <p:nvPr>
            <p:ph idx="30" sz="quarter" type="ftr"/>
          </p:nvPr>
        </p:nvSpPr>
        <p:spPr/>
        <p:txBody>
          <a:bodyPr/>
          <a:lstStyle/>
          <a:p>
            <a:pPr algn="l"/>
            <a:r>
              <a:rPr dirty="0"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65ECBA-F317-A48D-27DF-51F07A786FE0}"/>
              </a:ext>
            </a:extLst>
          </p:cNvPr>
          <p:cNvSpPr>
            <a:spLocks noGrp="1"/>
          </p:cNvSpPr>
          <p:nvPr>
            <p:ph idx="3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A066F9-EA08-E0E1-591B-AC4340376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4294706" cy="388013"/>
          </a:xfrm>
        </p:spPr>
        <p:txBody>
          <a:bodyPr/>
          <a:lstStyle/>
          <a:p>
            <a:r>
              <a:rPr lang="en-US"/>
              <a:t>Key features and benefi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41F32CA-5A8C-2F73-2267-DFBC1EEE80F4}"/>
              </a:ext>
            </a:extLst>
          </p:cNvPr>
          <p:cNvSpPr txBox="1">
            <a:spLocks/>
          </p:cNvSpPr>
          <p:nvPr/>
        </p:nvSpPr>
        <p:spPr>
          <a:xfrm>
            <a:off x="3361795" y="3094344"/>
            <a:ext cx="2586038" cy="775354"/>
          </a:xfrm>
          <a:prstGeom prst="rect">
            <a:avLst/>
          </a:prstGeom>
          <a:noFill/>
        </p:spPr>
        <p:txBody>
          <a:bodyPr anchor="t" bIns="0" lIns="180000" rIns="180000" rtlCol="0" tIns="108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14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b="1"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Productivity</a:t>
            </a:r>
          </a:p>
          <a:p>
            <a:r>
              <a:rPr b="0" i="1" lang="en-US" sz="1100">
                <a:solidFill>
                  <a:schemeClr val="tx2"/>
                </a:solidFill>
                <a:latin typeface="+mn-lt"/>
              </a:rPr>
              <a:t>Everything designed for longer lifetim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B21AF14-D13F-ABAF-3A24-A1594E719EBF}"/>
              </a:ext>
            </a:extLst>
          </p:cNvPr>
          <p:cNvSpPr txBox="1">
            <a:spLocks/>
          </p:cNvSpPr>
          <p:nvPr/>
        </p:nvSpPr>
        <p:spPr>
          <a:xfrm>
            <a:off x="6240259" y="3094344"/>
            <a:ext cx="2586038" cy="775354"/>
          </a:xfrm>
          <a:prstGeom prst="rect">
            <a:avLst/>
          </a:prstGeom>
          <a:noFill/>
        </p:spPr>
        <p:txBody>
          <a:bodyPr anchor="t" bIns="0" lIns="180000" rIns="180000" rtlCol="0" tIns="108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14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b="1"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/>
              <a:t>Comfort</a:t>
            </a:r>
          </a:p>
          <a:p>
            <a:r>
              <a:rPr b="0" i="1" lang="en-US" sz="1100">
                <a:solidFill>
                  <a:schemeClr val="tx2"/>
                </a:solidFill>
                <a:latin typeface="+mn-lt"/>
              </a:rPr>
              <a:t>Increasing comfort to improve productivity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96681025-9403-407C-EEE5-3A4E471BBBDB}"/>
              </a:ext>
            </a:extLst>
          </p:cNvPr>
          <p:cNvSpPr txBox="1">
            <a:spLocks/>
          </p:cNvSpPr>
          <p:nvPr/>
        </p:nvSpPr>
        <p:spPr>
          <a:xfrm>
            <a:off x="9126537" y="3094344"/>
            <a:ext cx="2586038" cy="775354"/>
          </a:xfrm>
          <a:prstGeom prst="rect">
            <a:avLst/>
          </a:prstGeom>
          <a:noFill/>
        </p:spPr>
        <p:txBody>
          <a:bodyPr anchor="t" bIns="0" lIns="180000" rIns="180000" rtlCol="0" tIns="108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14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b="1"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Performance</a:t>
            </a:r>
          </a:p>
          <a:p>
            <a:r>
              <a:rPr b="0" i="1" lang="en-US" sz="1100">
                <a:solidFill>
                  <a:schemeClr val="tx2"/>
                </a:solidFill>
                <a:latin typeface="+mn-lt"/>
              </a:rPr>
              <a:t>Having the power to achieve </a:t>
            </a:r>
            <a:br>
              <a:rPr b="0" i="1" lang="en-US" sz="1100">
                <a:solidFill>
                  <a:schemeClr val="tx2"/>
                </a:solidFill>
                <a:latin typeface="+mn-lt"/>
              </a:rPr>
            </a:br>
            <a:r>
              <a:rPr b="0" i="1" lang="en-US" sz="1100">
                <a:solidFill>
                  <a:schemeClr val="tx2"/>
                </a:solidFill>
                <a:latin typeface="+mn-lt"/>
              </a:rPr>
              <a:t>specific task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419921-6927-4331-B134-15087FBE9F41}"/>
              </a:ext>
            </a:extLst>
          </p:cNvPr>
          <p:cNvGrpSpPr/>
          <p:nvPr/>
        </p:nvGrpSpPr>
        <p:grpSpPr>
          <a:xfrm>
            <a:off x="475517" y="1434164"/>
            <a:ext cx="11229243" cy="1660180"/>
            <a:chOff x="475517" y="4560028"/>
            <a:chExt cx="11229243" cy="1660180"/>
          </a:xfrm>
        </p:grpSpPr>
        <p:pic>
          <p:nvPicPr>
            <p:cNvPr id="8" name="Immagine 10">
              <a:extLst>
                <a:ext uri="{FF2B5EF4-FFF2-40B4-BE49-F238E27FC236}">
                  <a16:creationId xmlns:a16="http://schemas.microsoft.com/office/drawing/2014/main" id="{F9215437-263B-FCA5-FB48-1EB5772315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email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4" r="234"/>
            <a:stretch/>
          </p:blipFill>
          <p:spPr>
            <a:xfrm>
              <a:off x="475517" y="4561399"/>
              <a:ext cx="2600878" cy="1658809"/>
            </a:xfrm>
            <a:prstGeom prst="rect">
              <a:avLst/>
            </a:prstGeom>
          </p:spPr>
        </p:pic>
        <p:pic>
          <p:nvPicPr>
            <p:cNvPr id="11" name="Immagine 20">
              <a:extLst>
                <a:ext uri="{FF2B5EF4-FFF2-40B4-BE49-F238E27FC236}">
                  <a16:creationId xmlns:a16="http://schemas.microsoft.com/office/drawing/2014/main" id="{0945B388-0591-2A6E-7826-4D10A49967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7" r="107"/>
            <a:stretch/>
          </p:blipFill>
          <p:spPr>
            <a:xfrm>
              <a:off x="9104287" y="4561399"/>
              <a:ext cx="2600473" cy="1658809"/>
            </a:xfrm>
            <a:prstGeom prst="rect">
              <a:avLst/>
            </a:prstGeom>
          </p:spPr>
        </p:pic>
        <p:pic>
          <p:nvPicPr>
            <p:cNvPr id="13" name="Immagine 24">
              <a:extLst>
                <a:ext uri="{FF2B5EF4-FFF2-40B4-BE49-F238E27FC236}">
                  <a16:creationId xmlns:a16="http://schemas.microsoft.com/office/drawing/2014/main" id="{2177428A-D3F3-62BB-4157-42F6F8D87D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email"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4" r="334"/>
            <a:stretch/>
          </p:blipFill>
          <p:spPr>
            <a:xfrm>
              <a:off x="6240258" y="4569963"/>
              <a:ext cx="2590043" cy="1650245"/>
            </a:xfrm>
            <a:prstGeom prst="rect">
              <a:avLst/>
            </a:prstGeom>
          </p:spPr>
        </p:pic>
        <p:pic>
          <p:nvPicPr>
            <p:cNvPr id="16" name="Immagine 28">
              <a:extLst>
                <a:ext uri="{FF2B5EF4-FFF2-40B4-BE49-F238E27FC236}">
                  <a16:creationId xmlns:a16="http://schemas.microsoft.com/office/drawing/2014/main" id="{01EA8A60-FEB4-853D-CDDE-208095E175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email"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50" l="-1770" r="-3642" t="112"/>
            <a:stretch/>
          </p:blipFill>
          <p:spPr>
            <a:xfrm>
              <a:off x="3292462" y="4560028"/>
              <a:ext cx="2651464" cy="16601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997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DE39C95-756A-6DFA-7C51-E8899F758B77}"/>
              </a:ext>
            </a:extLst>
          </p:cNvPr>
          <p:cNvSpPr>
            <a:spLocks noGrp="1"/>
          </p:cNvSpPr>
          <p:nvPr>
            <p:ph idx="13" sz="quarter"/>
          </p:nvPr>
        </p:nvSpPr>
        <p:spPr>
          <a:xfrm>
            <a:off x="479425" y="1416345"/>
            <a:ext cx="4890861" cy="4863764"/>
          </a:xfrm>
        </p:spPr>
        <p:txBody>
          <a:bodyPr/>
          <a:lstStyle/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>
                <a:latin charset="0" panose="02000000000000000000" pitchFamily="2" typeface="Roboto Bold"/>
              </a:rPr>
              <a:t>Description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Pull clean filter cleaning system is a manual system with which operator can easily clean the filter and keep high the efficiency of the vacuum cleaner.</a:t>
            </a:r>
          </a:p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endParaRPr lang="en-US" sz="1200"/>
          </a:p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>
                <a:latin charset="0" panose="02000000000000000000" pitchFamily="2" typeface="Roboto Bold"/>
              </a:rPr>
              <a:t>How it works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The cleaning of the filter is done with the inlet of the machine closed.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Three rapid opening and closing of the blue flap create a counter impulsive flow into the filter that is in this way cleaned.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Rapidly repeat the cleaning process for three times for the perfect cleaning of the filter</a:t>
            </a:r>
          </a:p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endParaRPr lang="en-US" sz="1200"/>
          </a:p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>
                <a:latin charset="0" panose="02000000000000000000" pitchFamily="2" typeface="Roboto Bold"/>
              </a:rPr>
              <a:t>Value and benefit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Reduced maintenance 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Stable performance make faster the cleaning job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Safe method of clean the filter without stop the suctio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6A62366-BB2E-846F-909F-AAE134CB43FA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r>
              <a:rPr lang="en-US"/>
              <a:t>L Class VHS011…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4219006-A81E-BFA6-E94A-CA42B670B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ullClea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109811C-A5A2-A09D-7078-5E6877E3EFCC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BA7D525-B027-D5FF-DAE0-1BB8B6CB327F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80A43-82F5-EA7B-F96C-9886E03D6D13}"/>
              </a:ext>
            </a:extLst>
          </p:cNvPr>
          <p:cNvSpPr/>
          <p:nvPr/>
        </p:nvSpPr>
        <p:spPr>
          <a:xfrm>
            <a:off x="6240780" y="0"/>
            <a:ext cx="595122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8" name="Immagine 11">
            <a:extLst>
              <a:ext uri="{FF2B5EF4-FFF2-40B4-BE49-F238E27FC236}">
                <a16:creationId xmlns:a16="http://schemas.microsoft.com/office/drawing/2014/main" id="{4C10D10F-3C8C-6192-7EF1-7D17151E5E74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1" l="76" r="44" t="23"/>
          <a:stretch/>
        </p:blipFill>
        <p:spPr>
          <a:xfrm>
            <a:off x="6240781" y="0"/>
            <a:ext cx="5951220" cy="6273799"/>
          </a:xfrm>
          <a:prstGeom prst="rect">
            <a:avLst/>
          </a:prstGeom>
        </p:spPr>
      </p:pic>
      <p:pic>
        <p:nvPicPr>
          <p:cNvPr id="20" name="Immagine 13">
            <a:extLst>
              <a:ext uri="{FF2B5EF4-FFF2-40B4-BE49-F238E27FC236}">
                <a16:creationId xmlns:a16="http://schemas.microsoft.com/office/drawing/2014/main" id="{39C66FC4-7B86-A6DA-F06B-0174A3CFCBE8}"/>
              </a:ext>
            </a:extLst>
          </p:cNvPr>
          <p:cNvPicPr>
            <a:picLocks noChangeAspect="1"/>
          </p:cNvPicPr>
          <p:nvPr/>
        </p:nvPicPr>
        <p:blipFill>
          <a:blip cstate="email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3082" y="528379"/>
            <a:ext cx="1657915" cy="564289"/>
          </a:xfrm>
          <a:prstGeom prst="rect">
            <a:avLst/>
          </a:prstGeom>
        </p:spPr>
      </p:pic>
      <p:sp>
        <p:nvSpPr>
          <p:cNvPr id="21" name="Oval 14">
            <a:extLst>
              <a:ext uri="{FF2B5EF4-FFF2-40B4-BE49-F238E27FC236}">
                <a16:creationId xmlns:a16="http://schemas.microsoft.com/office/drawing/2014/main" id="{BB3C97A1-40E3-A61B-6024-F7303D31704A}"/>
              </a:ext>
            </a:extLst>
          </p:cNvPr>
          <p:cNvSpPr/>
          <p:nvPr/>
        </p:nvSpPr>
        <p:spPr>
          <a:xfrm>
            <a:off x="10244522" y="9897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lang="en-US" sz="1500">
                <a:solidFill>
                  <a:schemeClr val="bg1"/>
                </a:solidFill>
                <a:latin charset="0" panose="02000000000000000000" pitchFamily="2" typeface="Roboto Bold"/>
              </a:rPr>
              <a:t>Efficient filter cleaning</a:t>
            </a:r>
            <a:endParaRPr dirty="0" lang="en-US" sz="1500">
              <a:solidFill>
                <a:schemeClr val="bg1"/>
              </a:solidFill>
              <a:latin charset="0" panose="02000000000000000000" pitchFamily="2" typeface="Roboto Bold"/>
            </a:endParaRPr>
          </a:p>
        </p:txBody>
      </p:sp>
    </p:spTree>
    <p:extLst>
      <p:ext uri="{BB962C8B-B14F-4D97-AF65-F5344CB8AC3E}">
        <p14:creationId xmlns:p14="http://schemas.microsoft.com/office/powerpoint/2010/main" val="157130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1">
            <a:extLst>
              <a:ext uri="{FF2B5EF4-FFF2-40B4-BE49-F238E27FC236}">
                <a16:creationId xmlns:a16="http://schemas.microsoft.com/office/drawing/2014/main" id="{117084D3-3E88-21B7-8ACD-95021A11D4A2}"/>
              </a:ext>
            </a:extLst>
          </p:cNvPr>
          <p:cNvPicPr>
            <a:picLocks noChangeAspect="1"/>
          </p:cNvPicPr>
          <p:nvPr/>
        </p:nvPicPr>
        <p:blipFill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3822" y="528502"/>
            <a:ext cx="1677175" cy="564166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DE39C95-756A-6DFA-7C51-E8899F758B77}"/>
              </a:ext>
            </a:extLst>
          </p:cNvPr>
          <p:cNvSpPr>
            <a:spLocks noGrp="1"/>
          </p:cNvSpPr>
          <p:nvPr>
            <p:ph idx="13" sz="quarter"/>
          </p:nvPr>
        </p:nvSpPr>
        <p:spPr>
          <a:xfrm>
            <a:off x="479425" y="1416345"/>
            <a:ext cx="4905375" cy="4863764"/>
          </a:xfrm>
        </p:spPr>
        <p:txBody>
          <a:bodyPr/>
          <a:lstStyle/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>
                <a:latin charset="0" panose="02000000000000000000" pitchFamily="2" typeface="Roboto Bold"/>
              </a:rPr>
              <a:t>Description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HCLASS certified models are quipped with the safe bag system; this disposal system allow to dispose the collected material without being in contact with the material itself. </a:t>
            </a:r>
          </a:p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endParaRPr lang="en-US" sz="1200"/>
          </a:p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>
                <a:latin charset="0" panose="02000000000000000000" pitchFamily="2" typeface="Roboto Bold"/>
              </a:rPr>
              <a:t>How it works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It is built with a CLASS M fleece filter and a special bag inlet with safety guillotine valve, externally protected by a conductive and resistant plastic bag.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The bag filter safely collect the material, external plastic bag protects operator from the contact with the filtering bag during the disposal procedure.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The guillotine valve, when manually closed, avoid any leakage of dust from the inlet of the safe bag system</a:t>
            </a:r>
          </a:p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endParaRPr lang="en-US" sz="1200"/>
          </a:p>
          <a:p>
            <a:pPr indent="0" marL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>
                <a:latin charset="0" panose="02000000000000000000" pitchFamily="2" typeface="Roboto Bold"/>
              </a:rPr>
              <a:t>Value and benefit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Perfect protection accordingly different types of hazardous dusts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Secondary protection with HEPA14 certified filter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charset="2" panose="05000000000000000000" pitchFamily="2" typeface="Wingdings"/>
              <a:buChar char="ü"/>
            </a:pPr>
            <a:r>
              <a:rPr lang="en-US" sz="1200"/>
              <a:t>Safe, easy and quick disposal system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6A62366-BB2E-846F-909F-AAE134CB43FA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r>
              <a:rPr lang="en-US"/>
              <a:t>H Class VHS010….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4219006-A81E-BFA6-E94A-CA42B670B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fe bag system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109811C-A5A2-A09D-7078-5E6877E3EFCC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BA7D525-B027-D5FF-DAE0-1BB8B6CB327F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80A43-82F5-EA7B-F96C-9886E03D6D13}"/>
              </a:ext>
            </a:extLst>
          </p:cNvPr>
          <p:cNvSpPr/>
          <p:nvPr/>
        </p:nvSpPr>
        <p:spPr>
          <a:xfrm>
            <a:off x="6240780" y="0"/>
            <a:ext cx="595122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8" name="Immagine 11">
            <a:extLst>
              <a:ext uri="{FF2B5EF4-FFF2-40B4-BE49-F238E27FC236}">
                <a16:creationId xmlns:a16="http://schemas.microsoft.com/office/drawing/2014/main" id="{4C10D10F-3C8C-6192-7EF1-7D17151E5E74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2" l="81" r="18" t="129"/>
          <a:stretch/>
        </p:blipFill>
        <p:spPr>
          <a:xfrm>
            <a:off x="6240781" y="0"/>
            <a:ext cx="5951220" cy="6273799"/>
          </a:xfrm>
          <a:prstGeom prst="rect">
            <a:avLst/>
          </a:prstGeom>
        </p:spPr>
      </p:pic>
      <p:sp>
        <p:nvSpPr>
          <p:cNvPr id="4" name="Oval 14">
            <a:extLst>
              <a:ext uri="{FF2B5EF4-FFF2-40B4-BE49-F238E27FC236}">
                <a16:creationId xmlns:a16="http://schemas.microsoft.com/office/drawing/2014/main" id="{74908B8E-5AB2-F172-1B9D-FEB70C2F9916}"/>
              </a:ext>
            </a:extLst>
          </p:cNvPr>
          <p:cNvSpPr/>
          <p:nvPr/>
        </p:nvSpPr>
        <p:spPr>
          <a:xfrm>
            <a:off x="10244522" y="4944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bIns="0" lIns="0" rIns="0" rtlCol="0" tIns="0"/>
          <a:lstStyle/>
          <a:p>
            <a:pPr algn="ctr"/>
            <a:r>
              <a:rPr lang="en-US" sz="1500">
                <a:solidFill>
                  <a:schemeClr val="bg1"/>
                </a:solidFill>
                <a:latin charset="0" panose="02000000000000000000" pitchFamily="2" typeface="Roboto Bold"/>
              </a:rPr>
              <a:t>No dust exposure</a:t>
            </a:r>
          </a:p>
        </p:txBody>
      </p:sp>
    </p:spTree>
    <p:extLst>
      <p:ext uri="{BB962C8B-B14F-4D97-AF65-F5344CB8AC3E}">
        <p14:creationId xmlns:p14="http://schemas.microsoft.com/office/powerpoint/2010/main" val="19961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A93757B-6F32-1E18-BA3F-06D79531AA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3AE036-47D7-32AD-A3F0-A3DDEA4A5F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Accessori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359D42-9F6D-2132-4CC2-908E940425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6BD8E-4C27-43B9-E8D0-565BFE7BE8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33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DE39C95-756A-6DFA-7C51-E8899F758B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1416345"/>
            <a:ext cx="4571546" cy="4863764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>
                <a:latin typeface="Roboto Bold" panose="02000000000000000000" pitchFamily="2" charset="0"/>
              </a:rPr>
              <a:t>Description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en-US" sz="1200"/>
              <a:t>Four convenient and robust clips, two each side, useful to easily transport up to 4 end tools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20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>
                <a:latin typeface="Roboto Bold" panose="02000000000000000000" pitchFamily="2" charset="0"/>
              </a:rPr>
              <a:t>How it works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en-US" sz="1200"/>
              <a:t>When IVAC is parked, the accessories holder can easily keep the new small handgrip and floor nozzle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en-US" sz="1200"/>
              <a:t>Disconnect hose from IVAC’s inlet and handgrip for an easiest positioning 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en-US" sz="1200"/>
              <a:t>Disconnect bulky accessories, as handgrip and floor nozzle, before moving the machines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20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>
                <a:latin typeface="Roboto Bold" panose="02000000000000000000" pitchFamily="2" charset="0"/>
              </a:rPr>
              <a:t>Value and benefit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en-US" sz="1200"/>
              <a:t>Accessories always nearby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Font typeface="Wingdings" panose="05000000000000000000" pitchFamily="2" charset="2"/>
              <a:buChar char="ü"/>
            </a:pPr>
            <a:r>
              <a:rPr lang="en-US" sz="1200"/>
              <a:t>Parking with minimum space occupatio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6A62366-BB2E-846F-909F-AAE134CB43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5199565" cy="37645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4219006-A81E-BFA6-E94A-CA42B670B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195661" cy="388013"/>
          </a:xfrm>
        </p:spPr>
        <p:txBody>
          <a:bodyPr/>
          <a:lstStyle/>
          <a:p>
            <a:r>
              <a:rPr lang="en-US"/>
              <a:t>Accessory holder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109811C-A5A2-A09D-7078-5E6877E3EF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BA7D525-B027-D5FF-DAE0-1BB8B6CB32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80A43-82F5-EA7B-F96C-9886E03D6D13}"/>
              </a:ext>
            </a:extLst>
          </p:cNvPr>
          <p:cNvSpPr/>
          <p:nvPr/>
        </p:nvSpPr>
        <p:spPr>
          <a:xfrm>
            <a:off x="6240780" y="0"/>
            <a:ext cx="595122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400F32-2D3C-BBEE-5DBE-BC2AA064011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052220" y="-18004"/>
            <a:ext cx="4292126" cy="28628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ED6AC6C-DCEB-6D89-46D6-7F5540934E9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717931" y="195996"/>
            <a:ext cx="4292126" cy="286285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4844FA-BDEC-CE8B-2674-83F048D1E53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4138" y="1962543"/>
            <a:ext cx="2701285" cy="404988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36059E2-3799-C894-383D-914D36859E8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4051" y="1962543"/>
            <a:ext cx="2701285" cy="4049889"/>
          </a:xfrm>
          <a:prstGeom prst="rect">
            <a:avLst/>
          </a:prstGeom>
        </p:spPr>
      </p:pic>
      <p:sp>
        <p:nvSpPr>
          <p:cNvPr id="4" name="Oval 14">
            <a:extLst>
              <a:ext uri="{FF2B5EF4-FFF2-40B4-BE49-F238E27FC236}">
                <a16:creationId xmlns:a16="http://schemas.microsoft.com/office/drawing/2014/main" id="{907AF6C5-6B55-20DF-2639-EDE45065C164}"/>
              </a:ext>
            </a:extLst>
          </p:cNvPr>
          <p:cNvSpPr/>
          <p:nvPr/>
        </p:nvSpPr>
        <p:spPr>
          <a:xfrm>
            <a:off x="10244522" y="4944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500">
                <a:solidFill>
                  <a:schemeClr val="bg1"/>
                </a:solidFill>
                <a:latin typeface="Roboto Bold" panose="02000000000000000000" pitchFamily="2" charset="0"/>
              </a:rPr>
              <a:t>Parking position</a:t>
            </a:r>
          </a:p>
        </p:txBody>
      </p:sp>
    </p:spTree>
    <p:extLst>
      <p:ext uri="{BB962C8B-B14F-4D97-AF65-F5344CB8AC3E}">
        <p14:creationId xmlns:p14="http://schemas.microsoft.com/office/powerpoint/2010/main" val="271097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>
            <a:extLst>
              <a:ext uri="{FF2B5EF4-FFF2-40B4-BE49-F238E27FC236}">
                <a16:creationId xmlns:a16="http://schemas.microsoft.com/office/drawing/2014/main" id="{220DF2AB-3CC6-D95D-36BC-36FEFF4BE893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2" r="152"/>
          <a:stretch/>
        </p:blipFill>
        <p:spPr>
          <a:xfrm>
            <a:off x="6906022" y="0"/>
            <a:ext cx="5285978" cy="6273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lang="en-US"/>
              <a:t>Agend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idx="50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idx="5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97DC85A-115F-B488-0FF2-393AFDFE4C93}"/>
              </a:ext>
            </a:extLst>
          </p:cNvPr>
          <p:cNvSpPr>
            <a:spLocks noGrp="1"/>
          </p:cNvSpPr>
          <p:nvPr>
            <p:ph idx="37" sz="quarter" type="body"/>
          </p:nvPr>
        </p:nvSpPr>
        <p:spPr>
          <a:xfrm>
            <a:off x="1313325" y="1412875"/>
            <a:ext cx="1983450" cy="698238"/>
          </a:xfrm>
        </p:spPr>
        <p:txBody>
          <a:bodyPr/>
          <a:lstStyle/>
          <a:p>
            <a:r>
              <a:rPr lang="en-US"/>
              <a:t>Mini </a:t>
            </a:r>
            <a:r>
              <a:rPr dirty="0" lang="en-US"/>
              <a:t>IVS </a:t>
            </a:r>
            <a:r>
              <a:rPr lang="en-US"/>
              <a:t>range </a:t>
            </a:r>
            <a:br>
              <a:rPr lang="en-US"/>
            </a:br>
            <a:r>
              <a:rPr lang="en-US"/>
              <a:t>and </a:t>
            </a:r>
            <a:r>
              <a:rPr dirty="0" lang="en-US"/>
              <a:t>layouts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9DFA9EFA-F7FC-B1EA-18F8-ED70C828A508}"/>
              </a:ext>
            </a:extLst>
          </p:cNvPr>
          <p:cNvSpPr>
            <a:spLocks noGrp="1"/>
          </p:cNvSpPr>
          <p:nvPr>
            <p:ph idx="38" sz="quarter" type="body"/>
          </p:nvPr>
        </p:nvSpPr>
        <p:spPr>
          <a:xfrm>
            <a:off x="1313325" y="2288905"/>
            <a:ext cx="1496928" cy="698238"/>
          </a:xfrm>
        </p:spPr>
        <p:txBody>
          <a:bodyPr/>
          <a:lstStyle/>
          <a:p>
            <a:r>
              <a:rPr dirty="0" lang="en-US"/>
              <a:t>Jobs to be don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2B591C3E-513D-54CD-4B21-339447943136}"/>
              </a:ext>
            </a:extLst>
          </p:cNvPr>
          <p:cNvSpPr>
            <a:spLocks noGrp="1"/>
          </p:cNvSpPr>
          <p:nvPr>
            <p:ph idx="39" sz="quarter" type="body"/>
          </p:nvPr>
        </p:nvSpPr>
        <p:spPr>
          <a:xfrm>
            <a:off x="1313325" y="3164935"/>
            <a:ext cx="2247699" cy="698238"/>
          </a:xfrm>
        </p:spPr>
        <p:txBody>
          <a:bodyPr/>
          <a:lstStyle/>
          <a:p>
            <a:r>
              <a:rPr dirty="0" lang="en-US"/>
              <a:t>Key </a:t>
            </a:r>
            <a:r>
              <a:rPr lang="en-US"/>
              <a:t>features </a:t>
            </a:r>
            <a:br>
              <a:rPr lang="en-US"/>
            </a:br>
            <a:r>
              <a:rPr lang="en-US"/>
              <a:t>and </a:t>
            </a:r>
            <a:r>
              <a:rPr dirty="0" lang="en-US"/>
              <a:t>benefits</a:t>
            </a:r>
            <a:endParaRPr dirty="0" lang="da-DK"/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1B408FCE-02A7-8C2F-1826-30ACAE7ECFBE}"/>
              </a:ext>
            </a:extLst>
          </p:cNvPr>
          <p:cNvSpPr>
            <a:spLocks noGrp="1"/>
          </p:cNvSpPr>
          <p:nvPr>
            <p:ph idx="40" sz="quarter" type="body"/>
          </p:nvPr>
        </p:nvSpPr>
        <p:spPr>
          <a:xfrm>
            <a:off x="4486739" y="1355152"/>
            <a:ext cx="1169669" cy="698238"/>
          </a:xfrm>
        </p:spPr>
        <p:txBody>
          <a:bodyPr/>
          <a:lstStyle/>
          <a:p>
            <a:r>
              <a:rPr dirty="0" lang="en-DK"/>
              <a:t>Accessories </a:t>
            </a:r>
            <a:endParaRPr dirty="0" lang="da-DK"/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977F7B4D-17D2-03BB-3A4A-D391EC0B58D4}"/>
              </a:ext>
            </a:extLst>
          </p:cNvPr>
          <p:cNvSpPr txBox="1">
            <a:spLocks/>
          </p:cNvSpPr>
          <p:nvPr/>
        </p:nvSpPr>
        <p:spPr>
          <a:xfrm>
            <a:off x="462758" y="141287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1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8E48F099-CBE1-E685-1C9F-4DB6E520B537}"/>
              </a:ext>
            </a:extLst>
          </p:cNvPr>
          <p:cNvSpPr txBox="1">
            <a:spLocks/>
          </p:cNvSpPr>
          <p:nvPr/>
        </p:nvSpPr>
        <p:spPr>
          <a:xfrm>
            <a:off x="462758" y="228890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2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BF93A8E1-856B-D296-4741-626770641891}"/>
              </a:ext>
            </a:extLst>
          </p:cNvPr>
          <p:cNvSpPr txBox="1">
            <a:spLocks/>
          </p:cNvSpPr>
          <p:nvPr/>
        </p:nvSpPr>
        <p:spPr>
          <a:xfrm>
            <a:off x="462758" y="316493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x-mo-SDL"/>
              <a:t>3</a:t>
            </a:r>
          </a:p>
        </p:txBody>
      </p:sp>
      <p:sp>
        <p:nvSpPr>
          <p:cNvPr id="51" name="Text Placeholder 20">
            <a:extLst>
              <a:ext uri="{FF2B5EF4-FFF2-40B4-BE49-F238E27FC236}">
                <a16:creationId xmlns:a16="http://schemas.microsoft.com/office/drawing/2014/main" id="{84A2CC73-DF55-0DDB-5929-C3A9B1A1D17C}"/>
              </a:ext>
            </a:extLst>
          </p:cNvPr>
          <p:cNvSpPr txBox="1">
            <a:spLocks/>
          </p:cNvSpPr>
          <p:nvPr/>
        </p:nvSpPr>
        <p:spPr>
          <a:xfrm>
            <a:off x="3561024" y="135515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4</a:t>
            </a:r>
            <a:endParaRPr lang="es-x-mo-SDL"/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C88D35B3-03C2-DE11-F725-8D9AAB1E94E4}"/>
              </a:ext>
            </a:extLst>
          </p:cNvPr>
          <p:cNvSpPr txBox="1">
            <a:spLocks/>
          </p:cNvSpPr>
          <p:nvPr/>
        </p:nvSpPr>
        <p:spPr>
          <a:xfrm>
            <a:off x="4393123" y="2288905"/>
            <a:ext cx="2247699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/>
              <a:t>Technical specification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E2074507-A909-8FA3-5A48-835338536487}"/>
              </a:ext>
            </a:extLst>
          </p:cNvPr>
          <p:cNvSpPr txBox="1">
            <a:spLocks/>
          </p:cNvSpPr>
          <p:nvPr/>
        </p:nvSpPr>
        <p:spPr>
          <a:xfrm>
            <a:off x="4425336" y="3113590"/>
            <a:ext cx="2210765" cy="698238"/>
          </a:xfrm>
          <a:prstGeom prst="rect">
            <a:avLst/>
          </a:prstGeom>
          <a:ln>
            <a:noFill/>
          </a:ln>
        </p:spPr>
        <p:txBody>
          <a:bodyPr anchor="ctr" bIns="72000" lIns="72000" rIns="72000" rtlCol="0" tIns="72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/>
              <a:t>Naming and hierarchy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B673E331-4A10-A652-6A9F-69FF35A729B7}"/>
              </a:ext>
            </a:extLst>
          </p:cNvPr>
          <p:cNvSpPr txBox="1">
            <a:spLocks/>
          </p:cNvSpPr>
          <p:nvPr/>
        </p:nvSpPr>
        <p:spPr>
          <a:xfrm>
            <a:off x="3561024" y="2293057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it-IT"/>
              <a:t>5</a:t>
            </a:r>
            <a:endParaRPr dirty="0" lang="es-x-mo-SDL"/>
          </a:p>
        </p:txBody>
      </p:sp>
      <p:sp>
        <p:nvSpPr>
          <p:cNvPr id="58" name="Text Placeholder 9">
            <a:extLst>
              <a:ext uri="{FF2B5EF4-FFF2-40B4-BE49-F238E27FC236}">
                <a16:creationId xmlns:a16="http://schemas.microsoft.com/office/drawing/2014/main" id="{67986382-D992-D084-E499-4215D868DAC9}"/>
              </a:ext>
            </a:extLst>
          </p:cNvPr>
          <p:cNvSpPr txBox="1">
            <a:spLocks/>
          </p:cNvSpPr>
          <p:nvPr/>
        </p:nvSpPr>
        <p:spPr>
          <a:xfrm>
            <a:off x="3561024" y="3169087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anchor="ctr" bIns="0" lIns="0" rIns="0" rtlCol="0" tIns="0" vert="horz">
            <a:noAutofit/>
          </a:bodyPr>
          <a:lstStyle>
            <a:lvl1pPr algn="ctr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2800">
                <a:solidFill>
                  <a:schemeClr val="bg1"/>
                </a:solidFill>
                <a:latin charset="0" panose="02000000000000000000" pitchFamily="2" typeface="Roboto Black"/>
                <a:ea charset="0" panose="02000000000000000000" pitchFamily="2" typeface="Roboto Black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it-IT"/>
              <a:t>6</a:t>
            </a:r>
            <a:endParaRPr dirty="0" lang="es-x-mo-SDL"/>
          </a:p>
        </p:txBody>
      </p:sp>
    </p:spTree>
    <p:extLst>
      <p:ext uri="{BB962C8B-B14F-4D97-AF65-F5344CB8AC3E}">
        <p14:creationId xmlns:p14="http://schemas.microsoft.com/office/powerpoint/2010/main" val="3537742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BAC18B-97EF-99B5-C81B-6A1225D0C5F7}"/>
              </a:ext>
            </a:extLst>
          </p:cNvPr>
          <p:cNvSpPr/>
          <p:nvPr/>
        </p:nvSpPr>
        <p:spPr>
          <a:xfrm>
            <a:off x="0" y="0"/>
            <a:ext cx="1219200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8AB3B4A-F438-AC73-7373-E37134DFF625}"/>
              </a:ext>
            </a:extLst>
          </p:cNvPr>
          <p:cNvSpPr>
            <a:spLocks noGrp="1"/>
          </p:cNvSpPr>
          <p:nvPr>
            <p:ph idx="18" sz="quarter"/>
          </p:nvPr>
        </p:nvSpPr>
        <p:spPr>
          <a:xfrm>
            <a:off x="479425" y="1421419"/>
            <a:ext cx="2586038" cy="4608576"/>
          </a:xfrm>
          <a:solidFill>
            <a:schemeClr val="bg1"/>
          </a:solidFill>
        </p:spPr>
        <p:txBody>
          <a:bodyPr bIns="182880" tIns="1097280"/>
          <a:lstStyle/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antistatic hose 3 m 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bent connection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conductive cone</a:t>
            </a:r>
          </a:p>
          <a:p>
            <a:endParaRPr lang="en-US" sz="1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663736-5B9B-FB21-01DD-661ED52F3F83}"/>
              </a:ext>
            </a:extLst>
          </p:cNvPr>
          <p:cNvSpPr>
            <a:spLocks noGrp="1"/>
          </p:cNvSpPr>
          <p:nvPr>
            <p:ph idx="13" sz="quarter" type="body"/>
          </p:nvPr>
        </p:nvSpPr>
        <p:spPr>
          <a:xfrm>
            <a:off x="479425" y="1423351"/>
            <a:ext cx="2586038" cy="818896"/>
          </a:xfrm>
        </p:spPr>
        <p:txBody>
          <a:bodyPr/>
          <a:lstStyle/>
          <a:p>
            <a:r>
              <a:rPr b="0" lang="en-US" sz="1200"/>
              <a:t>Basic Ø40 mm EXA </a:t>
            </a:r>
            <a:r>
              <a:rPr b="0" lang="en-US" sz="1200">
                <a:latin typeface="+mn-lt"/>
              </a:rPr>
              <a:t>(available also in combo version: CB)</a:t>
            </a:r>
          </a:p>
          <a:p>
            <a:r>
              <a:rPr b="0" i="1" lang="en-US" sz="1200">
                <a:solidFill>
                  <a:schemeClr val="tx2"/>
                </a:solidFill>
                <a:latin typeface="+mn-lt"/>
              </a:rPr>
              <a:t>4072400773</a:t>
            </a:r>
          </a:p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79D79C-E131-A829-FE81-7882AA0E28BF}"/>
              </a:ext>
            </a:extLst>
          </p:cNvPr>
          <p:cNvSpPr>
            <a:spLocks noGrp="1"/>
          </p:cNvSpPr>
          <p:nvPr>
            <p:ph idx="23" sz="quarter"/>
          </p:nvPr>
        </p:nvSpPr>
        <p:spPr>
          <a:xfrm>
            <a:off x="3361796" y="1421420"/>
            <a:ext cx="2586038" cy="4608576"/>
          </a:xfrm>
          <a:solidFill>
            <a:schemeClr val="bg1"/>
          </a:solidFill>
        </p:spPr>
        <p:txBody>
          <a:bodyPr bIns="182880" tIns="1097280"/>
          <a:lstStyle/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antistatic hose 3 m polyurethan FDA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bent connection AISI 304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antistatic cone silicon transparent 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flat lance AISI 304 300 mm </a:t>
            </a:r>
            <a:r>
              <a:rPr lang="en-US" sz="1000">
                <a:solidFill>
                  <a:schemeClr val="accent3"/>
                </a:solidFill>
                <a:latin typeface="+mj-lt"/>
              </a:rPr>
              <a:t>NEW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silicon nozzle with D40-32 reduction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endParaRPr lang="en-US" sz="10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75DEC5-5E78-4BC4-6E12-B544CD027208}"/>
              </a:ext>
            </a:extLst>
          </p:cNvPr>
          <p:cNvSpPr>
            <a:spLocks noGrp="1"/>
          </p:cNvSpPr>
          <p:nvPr>
            <p:ph idx="24" sz="quarter" type="body"/>
          </p:nvPr>
        </p:nvSpPr>
        <p:spPr>
          <a:xfrm>
            <a:off x="3361795" y="1423351"/>
            <a:ext cx="2586038" cy="818896"/>
          </a:xfrm>
        </p:spPr>
        <p:txBody>
          <a:bodyPr/>
          <a:lstStyle/>
          <a:p>
            <a:r>
              <a:rPr lang="en-US" sz="1200"/>
              <a:t>Machineries FDA Ø40 mm EXA </a:t>
            </a:r>
          </a:p>
          <a:p>
            <a:r>
              <a:rPr lang="en-US" sz="1200">
                <a:latin typeface="+mn-lt"/>
              </a:rPr>
              <a:t>(complete) Ø40 mm</a:t>
            </a:r>
          </a:p>
          <a:p>
            <a:r>
              <a:rPr b="0" i="1" lang="en-US" sz="1200">
                <a:solidFill>
                  <a:schemeClr val="tx2"/>
                </a:solidFill>
                <a:latin typeface="+mn-lt"/>
              </a:rPr>
              <a:t>4072400822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E7C6C2C-6E89-D155-EFC6-97ED5AD05591}"/>
              </a:ext>
            </a:extLst>
          </p:cNvPr>
          <p:cNvSpPr>
            <a:spLocks noGrp="1"/>
          </p:cNvSpPr>
          <p:nvPr>
            <p:ph idx="25" sz="quarter"/>
          </p:nvPr>
        </p:nvSpPr>
        <p:spPr>
          <a:xfrm>
            <a:off x="6244167" y="1421420"/>
            <a:ext cx="2586038" cy="4608576"/>
          </a:xfrm>
          <a:solidFill>
            <a:schemeClr val="bg1"/>
          </a:solidFill>
        </p:spPr>
        <p:txBody>
          <a:bodyPr bIns="182880" tIns="1097280"/>
          <a:lstStyle/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antistatic hose 3 m,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bent connection AISI 304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AISI 304 antistatic cone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dirty="0" lang="en-US" sz="1000"/>
              <a:t>EXA AISI 304 </a:t>
            </a:r>
            <a:r>
              <a:rPr lang="en-US" sz="1000"/>
              <a:t>flat lance 300 </a:t>
            </a:r>
            <a:r>
              <a:rPr dirty="0" lang="en-US" sz="1000"/>
              <a:t>mm </a:t>
            </a:r>
            <a:r>
              <a:rPr lang="en-US" sz="1000">
                <a:solidFill>
                  <a:schemeClr val="accent3"/>
                </a:solidFill>
                <a:latin typeface="+mj-lt"/>
              </a:rPr>
              <a:t>NEW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dirty="0" lang="en-US" sz="1000"/>
              <a:t>EXA AISI 304 antistatic round brush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dirty="0" lang="en-US" sz="1000"/>
              <a:t> EXA small handgrip (for bent connection) </a:t>
            </a:r>
            <a:r>
              <a:rPr dirty="0" lang="en-US" sz="1000">
                <a:solidFill>
                  <a:schemeClr val="accent3"/>
                </a:solidFill>
                <a:latin typeface="+mj-lt"/>
              </a:rPr>
              <a:t>NEW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dirty="0" lang="en-US" sz="1000"/>
              <a:t>EXA AISI 304 mobile floor nozzle  </a:t>
            </a:r>
            <a:br>
              <a:rPr dirty="0" lang="en-US" sz="1000"/>
            </a:br>
            <a:r>
              <a:rPr dirty="0" lang="en-US" sz="1000"/>
              <a:t>300 mm </a:t>
            </a:r>
            <a:r>
              <a:rPr dirty="0" lang="en-US" sz="1000">
                <a:solidFill>
                  <a:schemeClr val="accent3"/>
                </a:solidFill>
                <a:latin typeface="+mj-lt"/>
              </a:rPr>
              <a:t>NEW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endParaRPr dirty="0" lang="en-US" sz="10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89522A0-C7E3-DA5A-83CD-F58FEC7648D7}"/>
              </a:ext>
            </a:extLst>
          </p:cNvPr>
          <p:cNvSpPr>
            <a:spLocks noGrp="1"/>
          </p:cNvSpPr>
          <p:nvPr>
            <p:ph idx="26" sz="quarter" type="body"/>
          </p:nvPr>
        </p:nvSpPr>
        <p:spPr>
          <a:xfrm>
            <a:off x="6244166" y="1423351"/>
            <a:ext cx="2586038" cy="898708"/>
          </a:xfrm>
        </p:spPr>
        <p:txBody>
          <a:bodyPr/>
          <a:lstStyle/>
          <a:p>
            <a:r>
              <a:rPr lang="en-US" sz="1200"/>
              <a:t>General cleaning Ø40 mm </a:t>
            </a:r>
            <a:br>
              <a:rPr lang="en-US" sz="1200"/>
            </a:br>
            <a:r>
              <a:rPr lang="en-US" sz="1200"/>
              <a:t>EXA</a:t>
            </a:r>
            <a:endParaRPr b="0" i="1" lang="en-US" sz="1200">
              <a:solidFill>
                <a:schemeClr val="tx2"/>
              </a:solidFill>
              <a:latin typeface="+mn-lt"/>
            </a:endParaRPr>
          </a:p>
          <a:p>
            <a:r>
              <a:rPr b="0" i="1" lang="en-US" sz="1200">
                <a:solidFill>
                  <a:schemeClr val="tx2"/>
                </a:solidFill>
                <a:latin typeface="+mn-lt"/>
              </a:rPr>
              <a:t>4072400824</a:t>
            </a:r>
          </a:p>
          <a:p>
            <a:endParaRPr lang="en-US" sz="120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CFE5D43-A53C-3D54-0472-6084E44637CF}"/>
              </a:ext>
            </a:extLst>
          </p:cNvPr>
          <p:cNvSpPr>
            <a:spLocks noGrp="1"/>
          </p:cNvSpPr>
          <p:nvPr>
            <p:ph idx="27" sz="quarter"/>
          </p:nvPr>
        </p:nvSpPr>
        <p:spPr>
          <a:xfrm>
            <a:off x="9126537" y="1421420"/>
            <a:ext cx="2586038" cy="4608576"/>
          </a:xfrm>
          <a:solidFill>
            <a:schemeClr val="bg1"/>
          </a:solidFill>
        </p:spPr>
        <p:txBody>
          <a:bodyPr bIns="182880" tIns="1097280"/>
          <a:lstStyle/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antistatic hose 3 m FDA,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bent connection AISI 304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conductive cone black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dirty="0" lang="en-US" sz="1000"/>
              <a:t>EXA flat lance AISI 304 300 mm </a:t>
            </a:r>
            <a:r>
              <a:rPr lang="en-US" sz="1000">
                <a:solidFill>
                  <a:schemeClr val="accent3"/>
                </a:solidFill>
                <a:latin typeface="+mj-lt"/>
              </a:rPr>
              <a:t>NEW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r>
              <a:rPr lang="en-US" sz="1000"/>
              <a:t>EXA conductive nozzle Ø </a:t>
            </a:r>
            <a:r>
              <a:rPr dirty="0" lang="en-US" sz="1000"/>
              <a:t>40-32</a:t>
            </a:r>
          </a:p>
          <a:p>
            <a:pPr indent="-201168" marL="201168">
              <a:buClr>
                <a:schemeClr val="accent3"/>
              </a:buClr>
              <a:buFont typeface="+mj-lt"/>
              <a:buAutoNum type="arabicPeriod"/>
            </a:pPr>
            <a:endParaRPr dirty="0" lang="en-US" sz="100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C90AB9D-6476-4805-7389-3F968626A060}"/>
              </a:ext>
            </a:extLst>
          </p:cNvPr>
          <p:cNvSpPr>
            <a:spLocks noGrp="1"/>
          </p:cNvSpPr>
          <p:nvPr>
            <p:ph idx="28" sz="quarter" type="body"/>
          </p:nvPr>
        </p:nvSpPr>
        <p:spPr>
          <a:xfrm>
            <a:off x="9126537" y="1423351"/>
            <a:ext cx="2586038" cy="818896"/>
          </a:xfrm>
        </p:spPr>
        <p:txBody>
          <a:bodyPr/>
          <a:lstStyle/>
          <a:p>
            <a:r>
              <a:rPr lang="en-US" sz="1200"/>
              <a:t>Machineries conductive </a:t>
            </a:r>
            <a:br>
              <a:rPr lang="en-US" sz="1200"/>
            </a:br>
            <a:r>
              <a:rPr lang="en-US" sz="1200"/>
              <a:t>Ø40 mm EXA </a:t>
            </a:r>
            <a:r>
              <a:rPr b="0" lang="en-US" sz="1200">
                <a:latin typeface="+mn-lt"/>
              </a:rPr>
              <a:t>(complete) </a:t>
            </a:r>
            <a:br>
              <a:rPr b="0" lang="en-US" sz="1200">
                <a:latin typeface="+mn-lt"/>
              </a:rPr>
            </a:br>
            <a:r>
              <a:rPr b="0" lang="en-US" sz="1200">
                <a:latin typeface="+mn-lt"/>
              </a:rPr>
              <a:t>Ø40 mm</a:t>
            </a:r>
          </a:p>
          <a:p>
            <a:r>
              <a:rPr b="0" i="1" lang="en-US" sz="1200">
                <a:solidFill>
                  <a:schemeClr val="tx2"/>
                </a:solidFill>
                <a:latin typeface="+mn-lt"/>
              </a:rPr>
              <a:t>4072400823</a:t>
            </a:r>
          </a:p>
          <a:p>
            <a:endParaRPr lang="en-US" sz="120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EE76626-37C7-2E3F-C05E-018E4F8EFFE0}"/>
              </a:ext>
            </a:extLst>
          </p:cNvPr>
          <p:cNvSpPr>
            <a:spLocks noGrp="1"/>
          </p:cNvSpPr>
          <p:nvPr>
            <p:ph idx="30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8D0525-5C7A-F5F9-3C63-2C99D8087CE4}"/>
              </a:ext>
            </a:extLst>
          </p:cNvPr>
          <p:cNvSpPr>
            <a:spLocks noGrp="1"/>
          </p:cNvSpPr>
          <p:nvPr>
            <p:ph idx="3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F14BAB0-91EB-0896-5B2B-E5580081A38F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r>
              <a:rPr lang="en-US"/>
              <a:t>EXA Ø40 mm accessories</a:t>
            </a:r>
          </a:p>
          <a:p>
            <a:endParaRPr lang="en-US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39B9EB4-AFA1-4DAA-B652-E284286D27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i IVS Z22 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7AD810A-F044-1D26-0897-3D5805046797}"/>
              </a:ext>
            </a:extLst>
          </p:cNvPr>
          <p:cNvGrpSpPr/>
          <p:nvPr/>
        </p:nvGrpSpPr>
        <p:grpSpPr>
          <a:xfrm>
            <a:off x="767709" y="4815109"/>
            <a:ext cx="1878182" cy="1093603"/>
            <a:chOff x="824556" y="4817332"/>
            <a:chExt cx="1878182" cy="1093603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B9EAEF6-D8F4-84DA-026F-906D27D5FFC8}"/>
                </a:ext>
              </a:extLst>
            </p:cNvPr>
            <p:cNvGrpSpPr/>
            <p:nvPr/>
          </p:nvGrpSpPr>
          <p:grpSpPr>
            <a:xfrm>
              <a:off x="1015398" y="4820761"/>
              <a:ext cx="1651559" cy="1090174"/>
              <a:chOff x="940438" y="4354951"/>
              <a:chExt cx="1651559" cy="1090174"/>
            </a:xfrm>
          </p:grpSpPr>
          <p:grpSp>
            <p:nvGrpSpPr>
              <p:cNvPr id="27" name="Gruppo 52">
                <a:extLst>
                  <a:ext uri="{FF2B5EF4-FFF2-40B4-BE49-F238E27FC236}">
                    <a16:creationId xmlns:a16="http://schemas.microsoft.com/office/drawing/2014/main" id="{B3978501-26C1-3B57-AA80-40EF49A911FB}"/>
                  </a:ext>
                </a:extLst>
              </p:cNvPr>
              <p:cNvGrpSpPr/>
              <p:nvPr/>
            </p:nvGrpSpPr>
            <p:grpSpPr>
              <a:xfrm>
                <a:off x="940438" y="4354951"/>
                <a:ext cx="1651559" cy="1090174"/>
                <a:chOff x="3775331" y="2642162"/>
                <a:chExt cx="776106" cy="532799"/>
              </a:xfrm>
            </p:grpSpPr>
            <p:pic>
              <p:nvPicPr>
                <p:cNvPr id="29" name="Immagine 36">
                  <a:extLst>
                    <a:ext uri="{FF2B5EF4-FFF2-40B4-BE49-F238E27FC236}">
                      <a16:creationId xmlns:a16="http://schemas.microsoft.com/office/drawing/2014/main" id="{67F445EE-CD07-BC7C-F481-03BE3DBCA4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cstate="email" r:embed="rId2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7626" y="3048421"/>
                  <a:ext cx="246250" cy="118074"/>
                </a:xfrm>
                <a:prstGeom prst="rect">
                  <a:avLst/>
                </a:prstGeom>
              </p:spPr>
            </p:pic>
            <p:pic>
              <p:nvPicPr>
                <p:cNvPr id="30" name="Immagine 37">
                  <a:extLst>
                    <a:ext uri="{FF2B5EF4-FFF2-40B4-BE49-F238E27FC236}">
                      <a16:creationId xmlns:a16="http://schemas.microsoft.com/office/drawing/2014/main" id="{C618DAC6-9FE0-4549-2969-D917D628E8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cstate="email" r:embed="rId3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75331" y="2651363"/>
                  <a:ext cx="196668" cy="358444"/>
                </a:xfrm>
                <a:prstGeom prst="rect">
                  <a:avLst/>
                </a:prstGeom>
              </p:spPr>
            </p:pic>
            <p:pic>
              <p:nvPicPr>
                <p:cNvPr id="31" name="Immagine 38">
                  <a:extLst>
                    <a:ext uri="{FF2B5EF4-FFF2-40B4-BE49-F238E27FC236}">
                      <a16:creationId xmlns:a16="http://schemas.microsoft.com/office/drawing/2014/main" id="{A3FE74C7-B7F6-D242-0EF7-E432D015E44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cstate="email" r:embed="rId4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43876" y="2642162"/>
                  <a:ext cx="507561" cy="532799"/>
                </a:xfrm>
                <a:prstGeom prst="rect">
                  <a:avLst/>
                </a:prstGeom>
              </p:spPr>
            </p:pic>
          </p:grpSp>
          <p:pic>
            <p:nvPicPr>
              <p:cNvPr id="28" name="Immagine 59">
                <a:extLst>
                  <a:ext uri="{FF2B5EF4-FFF2-40B4-BE49-F238E27FC236}">
                    <a16:creationId xmlns:a16="http://schemas.microsoft.com/office/drawing/2014/main" id="{00635DF1-B248-F803-4261-EC5A28CBCF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email"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5504426">
                <a:off x="838048" y="4504670"/>
                <a:ext cx="688865" cy="478580"/>
              </a:xfrm>
              <a:prstGeom prst="rect">
                <a:avLst/>
              </a:prstGeom>
            </p:spPr>
          </p:pic>
        </p:grpSp>
        <p:sp>
          <p:nvSpPr>
            <p:cNvPr id="24" name="Ovale 23">
              <a:extLst>
                <a:ext uri="{FF2B5EF4-FFF2-40B4-BE49-F238E27FC236}">
                  <a16:creationId xmlns:a16="http://schemas.microsoft.com/office/drawing/2014/main" id="{A02F4F06-F05D-0AB4-35F1-C9ABE62F5FD4}"/>
                </a:ext>
              </a:extLst>
            </p:cNvPr>
            <p:cNvSpPr/>
            <p:nvPr/>
          </p:nvSpPr>
          <p:spPr>
            <a:xfrm>
              <a:off x="2538146" y="5658867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25" name="Ovale 25">
              <a:extLst>
                <a:ext uri="{FF2B5EF4-FFF2-40B4-BE49-F238E27FC236}">
                  <a16:creationId xmlns:a16="http://schemas.microsoft.com/office/drawing/2014/main" id="{C1CC46A4-A0EE-88E4-9FD5-37FB4D7386F6}"/>
                </a:ext>
              </a:extLst>
            </p:cNvPr>
            <p:cNvSpPr/>
            <p:nvPr/>
          </p:nvSpPr>
          <p:spPr>
            <a:xfrm>
              <a:off x="824556" y="5671043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26" name="Ovale 24">
              <a:extLst>
                <a:ext uri="{FF2B5EF4-FFF2-40B4-BE49-F238E27FC236}">
                  <a16:creationId xmlns:a16="http://schemas.microsoft.com/office/drawing/2014/main" id="{07B168F3-465F-9B01-8872-56386627BD01}"/>
                </a:ext>
              </a:extLst>
            </p:cNvPr>
            <p:cNvSpPr/>
            <p:nvPr/>
          </p:nvSpPr>
          <p:spPr>
            <a:xfrm>
              <a:off x="895936" y="4817332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CC688C6-E997-BAA8-0E2C-336E8BB67E85}"/>
              </a:ext>
            </a:extLst>
          </p:cNvPr>
          <p:cNvGrpSpPr/>
          <p:nvPr/>
        </p:nvGrpSpPr>
        <p:grpSpPr>
          <a:xfrm>
            <a:off x="3665397" y="4314121"/>
            <a:ext cx="1781188" cy="1583794"/>
            <a:chOff x="3846668" y="4316344"/>
            <a:chExt cx="1781188" cy="1583794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1AFD82FB-582D-DBCA-17D6-68D9D119FDAD}"/>
                </a:ext>
              </a:extLst>
            </p:cNvPr>
            <p:cNvGrpSpPr/>
            <p:nvPr/>
          </p:nvGrpSpPr>
          <p:grpSpPr>
            <a:xfrm>
              <a:off x="3948141" y="4316344"/>
              <a:ext cx="1538824" cy="1583794"/>
              <a:chOff x="3948141" y="4316344"/>
              <a:chExt cx="1538824" cy="1583794"/>
            </a:xfrm>
          </p:grpSpPr>
          <p:pic>
            <p:nvPicPr>
              <p:cNvPr id="39" name="Immagine 68">
                <a:extLst>
                  <a:ext uri="{FF2B5EF4-FFF2-40B4-BE49-F238E27FC236}">
                    <a16:creationId xmlns:a16="http://schemas.microsoft.com/office/drawing/2014/main" id="{1CFC349B-6F84-2675-CA25-B338DB80BF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email"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8546698">
                <a:off x="4585884" y="4421487"/>
                <a:ext cx="688865" cy="478580"/>
              </a:xfrm>
              <a:prstGeom prst="rect">
                <a:avLst/>
              </a:prstGeom>
            </p:spPr>
          </p:pic>
          <p:grpSp>
            <p:nvGrpSpPr>
              <p:cNvPr id="40" name="Gruppo 13">
                <a:extLst>
                  <a:ext uri="{FF2B5EF4-FFF2-40B4-BE49-F238E27FC236}">
                    <a16:creationId xmlns:a16="http://schemas.microsoft.com/office/drawing/2014/main" id="{D02B9010-A105-829C-1BCF-D4E17AF7FE4F}"/>
                  </a:ext>
                </a:extLst>
              </p:cNvPr>
              <p:cNvGrpSpPr/>
              <p:nvPr/>
            </p:nvGrpSpPr>
            <p:grpSpPr>
              <a:xfrm>
                <a:off x="4012137" y="4825808"/>
                <a:ext cx="1474828" cy="1074330"/>
                <a:chOff x="5229147" y="3268792"/>
                <a:chExt cx="901561" cy="656737"/>
              </a:xfrm>
            </p:grpSpPr>
            <p:grpSp>
              <p:nvGrpSpPr>
                <p:cNvPr id="42" name="Gruppo 14">
                  <a:extLst>
                    <a:ext uri="{FF2B5EF4-FFF2-40B4-BE49-F238E27FC236}">
                      <a16:creationId xmlns:a16="http://schemas.microsoft.com/office/drawing/2014/main" id="{2D1CD336-6D70-A8F2-D51C-D48FA19BC6DF}"/>
                    </a:ext>
                  </a:extLst>
                </p:cNvPr>
                <p:cNvGrpSpPr/>
                <p:nvPr/>
              </p:nvGrpSpPr>
              <p:grpSpPr>
                <a:xfrm>
                  <a:off x="5320899" y="3371790"/>
                  <a:ext cx="809809" cy="553739"/>
                  <a:chOff x="11994" y="205378"/>
                  <a:chExt cx="686834" cy="461711"/>
                </a:xfrm>
              </p:grpSpPr>
              <p:pic>
                <p:nvPicPr>
                  <p:cNvPr id="44" name="Immagine 16">
                    <a:extLst>
                      <a:ext uri="{FF2B5EF4-FFF2-40B4-BE49-F238E27FC236}">
                        <a16:creationId xmlns:a16="http://schemas.microsoft.com/office/drawing/2014/main" id="{D3D84A46-5E49-1BDE-CFA7-AB9CE500191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cstate="email" r:embed="rId6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40384" y="205378"/>
                    <a:ext cx="458444" cy="445707"/>
                  </a:xfrm>
                  <a:prstGeom prst="rect">
                    <a:avLst/>
                  </a:prstGeom>
                </p:spPr>
              </p:pic>
              <p:pic>
                <p:nvPicPr>
                  <p:cNvPr id="45" name="Immagine 20">
                    <a:extLst>
                      <a:ext uri="{FF2B5EF4-FFF2-40B4-BE49-F238E27FC236}">
                        <a16:creationId xmlns:a16="http://schemas.microsoft.com/office/drawing/2014/main" id="{5B528513-D77A-B043-FC08-A76915A33DF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cstate="email" r:embed="rId7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1994" y="555401"/>
                    <a:ext cx="267311" cy="11168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43" name="Immagine 15">
                  <a:extLst>
                    <a:ext uri="{FF2B5EF4-FFF2-40B4-BE49-F238E27FC236}">
                      <a16:creationId xmlns:a16="http://schemas.microsoft.com/office/drawing/2014/main" id="{B9DC9151-F2B1-0B90-13FB-20C3724804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cstate="email" r:embed="rId8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flipH="1" rot="20790483">
                  <a:off x="5229147" y="3268792"/>
                  <a:ext cx="372535" cy="313243"/>
                </a:xfrm>
                <a:prstGeom prst="rect">
                  <a:avLst/>
                </a:prstGeom>
              </p:spPr>
            </p:pic>
          </p:grpSp>
          <p:pic>
            <p:nvPicPr>
              <p:cNvPr id="41" name="Immagine 72">
                <a:extLst>
                  <a:ext uri="{FF2B5EF4-FFF2-40B4-BE49-F238E27FC236}">
                    <a16:creationId xmlns:a16="http://schemas.microsoft.com/office/drawing/2014/main" id="{57F9503F-5095-B855-1F22-D261122FAF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email"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 rot="20131801">
                <a:off x="3948141" y="4886606"/>
                <a:ext cx="703888" cy="383684"/>
              </a:xfrm>
              <a:prstGeom prst="rect">
                <a:avLst/>
              </a:prstGeom>
            </p:spPr>
          </p:pic>
        </p:grpSp>
        <p:sp>
          <p:nvSpPr>
            <p:cNvPr id="34" name="Ovale 26">
              <a:extLst>
                <a:ext uri="{FF2B5EF4-FFF2-40B4-BE49-F238E27FC236}">
                  <a16:creationId xmlns:a16="http://schemas.microsoft.com/office/drawing/2014/main" id="{061FF6A5-9C9D-5A72-8E34-A90C53FDFF99}"/>
                </a:ext>
              </a:extLst>
            </p:cNvPr>
            <p:cNvSpPr/>
            <p:nvPr/>
          </p:nvSpPr>
          <p:spPr>
            <a:xfrm>
              <a:off x="5463264" y="5662104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35" name="Ovale 27">
              <a:extLst>
                <a:ext uri="{FF2B5EF4-FFF2-40B4-BE49-F238E27FC236}">
                  <a16:creationId xmlns:a16="http://schemas.microsoft.com/office/drawing/2014/main" id="{CDB0EDB4-E86A-39E2-3A4F-4E95F8041ED6}"/>
                </a:ext>
              </a:extLst>
            </p:cNvPr>
            <p:cNvSpPr/>
            <p:nvPr/>
          </p:nvSpPr>
          <p:spPr>
            <a:xfrm>
              <a:off x="4471006" y="4397101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36" name="Ovale 28">
              <a:extLst>
                <a:ext uri="{FF2B5EF4-FFF2-40B4-BE49-F238E27FC236}">
                  <a16:creationId xmlns:a16="http://schemas.microsoft.com/office/drawing/2014/main" id="{7057FD38-F803-2CB9-2EF5-9F78A3BF3BD9}"/>
                </a:ext>
              </a:extLst>
            </p:cNvPr>
            <p:cNvSpPr/>
            <p:nvPr/>
          </p:nvSpPr>
          <p:spPr>
            <a:xfrm>
              <a:off x="3846668" y="5682461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37" name="Ovale 29">
              <a:extLst>
                <a:ext uri="{FF2B5EF4-FFF2-40B4-BE49-F238E27FC236}">
                  <a16:creationId xmlns:a16="http://schemas.microsoft.com/office/drawing/2014/main" id="{6453A155-6DA6-91DD-F7EF-90E644391B26}"/>
                </a:ext>
              </a:extLst>
            </p:cNvPr>
            <p:cNvSpPr/>
            <p:nvPr/>
          </p:nvSpPr>
          <p:spPr>
            <a:xfrm>
              <a:off x="5388625" y="4873130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38" name="Ovale 30">
              <a:extLst>
                <a:ext uri="{FF2B5EF4-FFF2-40B4-BE49-F238E27FC236}">
                  <a16:creationId xmlns:a16="http://schemas.microsoft.com/office/drawing/2014/main" id="{3FEBBA27-5515-CD7C-A632-10E6A914B45C}"/>
                </a:ext>
              </a:extLst>
            </p:cNvPr>
            <p:cNvSpPr/>
            <p:nvPr/>
          </p:nvSpPr>
          <p:spPr>
            <a:xfrm>
              <a:off x="4126811" y="4670113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06A4D192-DEE2-3593-2EFE-D0CF876F5342}"/>
              </a:ext>
            </a:extLst>
          </p:cNvPr>
          <p:cNvGrpSpPr/>
          <p:nvPr/>
        </p:nvGrpSpPr>
        <p:grpSpPr>
          <a:xfrm>
            <a:off x="9539710" y="3976649"/>
            <a:ext cx="1813201" cy="1949292"/>
            <a:chOff x="9426095" y="3978872"/>
            <a:chExt cx="1813201" cy="1949292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670B717-3EE6-95F7-CCCD-57219BCAE9F2}"/>
                </a:ext>
              </a:extLst>
            </p:cNvPr>
            <p:cNvGrpSpPr/>
            <p:nvPr/>
          </p:nvGrpSpPr>
          <p:grpSpPr>
            <a:xfrm>
              <a:off x="9464488" y="3978872"/>
              <a:ext cx="1716779" cy="1949292"/>
              <a:chOff x="9600816" y="4034370"/>
              <a:chExt cx="1580451" cy="1794500"/>
            </a:xfrm>
          </p:grpSpPr>
          <p:grpSp>
            <p:nvGrpSpPr>
              <p:cNvPr id="53" name="Gruppo 60">
                <a:extLst>
                  <a:ext uri="{FF2B5EF4-FFF2-40B4-BE49-F238E27FC236}">
                    <a16:creationId xmlns:a16="http://schemas.microsoft.com/office/drawing/2014/main" id="{8930CAA4-07B7-EB2F-0175-7F4F9F4830B9}"/>
                  </a:ext>
                </a:extLst>
              </p:cNvPr>
              <p:cNvGrpSpPr/>
              <p:nvPr/>
            </p:nvGrpSpPr>
            <p:grpSpPr>
              <a:xfrm>
                <a:off x="9768970" y="4830648"/>
                <a:ext cx="1412297" cy="998222"/>
                <a:chOff x="3797626" y="2642162"/>
                <a:chExt cx="753811" cy="532799"/>
              </a:xfrm>
            </p:grpSpPr>
            <p:pic>
              <p:nvPicPr>
                <p:cNvPr id="57" name="Immagine 63">
                  <a:extLst>
                    <a:ext uri="{FF2B5EF4-FFF2-40B4-BE49-F238E27FC236}">
                      <a16:creationId xmlns:a16="http://schemas.microsoft.com/office/drawing/2014/main" id="{701713FC-01E7-A613-16AA-BDE523A9348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cstate="email" r:embed="rId10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7626" y="3048421"/>
                  <a:ext cx="246250" cy="118074"/>
                </a:xfrm>
                <a:prstGeom prst="rect">
                  <a:avLst/>
                </a:prstGeom>
              </p:spPr>
            </p:pic>
            <p:pic>
              <p:nvPicPr>
                <p:cNvPr id="58" name="Immagine 65">
                  <a:extLst>
                    <a:ext uri="{FF2B5EF4-FFF2-40B4-BE49-F238E27FC236}">
                      <a16:creationId xmlns:a16="http://schemas.microsoft.com/office/drawing/2014/main" id="{57E9D009-7C10-EA22-0476-7F96FF52E2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cstate="email" r:embed="rId11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43876" y="2642162"/>
                  <a:ext cx="507561" cy="532799"/>
                </a:xfrm>
                <a:prstGeom prst="rect">
                  <a:avLst/>
                </a:prstGeom>
              </p:spPr>
            </p:pic>
          </p:grpSp>
          <p:pic>
            <p:nvPicPr>
              <p:cNvPr id="54" name="Immagine 88">
                <a:extLst>
                  <a:ext uri="{FF2B5EF4-FFF2-40B4-BE49-F238E27FC236}">
                    <a16:creationId xmlns:a16="http://schemas.microsoft.com/office/drawing/2014/main" id="{0CD6D73F-A241-7D25-EBBC-1BCF83C0FE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email" r:embed="rId1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 rot="19879609">
                <a:off x="9600816" y="4614085"/>
                <a:ext cx="657319" cy="403557"/>
              </a:xfrm>
              <a:prstGeom prst="rect">
                <a:avLst/>
              </a:prstGeom>
            </p:spPr>
          </p:pic>
          <p:pic>
            <p:nvPicPr>
              <p:cNvPr id="55" name="Immagine 90">
                <a:extLst>
                  <a:ext uri="{FF2B5EF4-FFF2-40B4-BE49-F238E27FC236}">
                    <a16:creationId xmlns:a16="http://schemas.microsoft.com/office/drawing/2014/main" id="{5DECB900-29FF-3A06-9671-72503CF798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email" r:embed="rId1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8132877">
                <a:off x="10175189" y="4129889"/>
                <a:ext cx="625814" cy="434776"/>
              </a:xfrm>
              <a:prstGeom prst="rect">
                <a:avLst/>
              </a:prstGeom>
            </p:spPr>
          </p:pic>
          <p:pic>
            <p:nvPicPr>
              <p:cNvPr id="56" name="Immagine 89">
                <a:extLst>
                  <a:ext uri="{FF2B5EF4-FFF2-40B4-BE49-F238E27FC236}">
                    <a16:creationId xmlns:a16="http://schemas.microsoft.com/office/drawing/2014/main" id="{7A3A55EB-CEF5-B9F9-A94A-285DA17FA3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email"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9546738">
                <a:off x="10452310" y="4478817"/>
                <a:ext cx="552313" cy="302286"/>
              </a:xfrm>
              <a:prstGeom prst="rect">
                <a:avLst/>
              </a:prstGeom>
            </p:spPr>
          </p:pic>
        </p:grpSp>
        <p:sp>
          <p:nvSpPr>
            <p:cNvPr id="48" name="Ovale 91">
              <a:extLst>
                <a:ext uri="{FF2B5EF4-FFF2-40B4-BE49-F238E27FC236}">
                  <a16:creationId xmlns:a16="http://schemas.microsoft.com/office/drawing/2014/main" id="{8498F9B8-A6EB-726C-7AF0-22101CB4F62A}"/>
                </a:ext>
              </a:extLst>
            </p:cNvPr>
            <p:cNvSpPr/>
            <p:nvPr/>
          </p:nvSpPr>
          <p:spPr>
            <a:xfrm>
              <a:off x="11074704" y="5574793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49" name="Ovale 92">
              <a:extLst>
                <a:ext uri="{FF2B5EF4-FFF2-40B4-BE49-F238E27FC236}">
                  <a16:creationId xmlns:a16="http://schemas.microsoft.com/office/drawing/2014/main" id="{0D4ED92C-48F1-06D3-02E9-811277CF157E}"/>
                </a:ext>
              </a:extLst>
            </p:cNvPr>
            <p:cNvSpPr/>
            <p:nvPr/>
          </p:nvSpPr>
          <p:spPr>
            <a:xfrm>
              <a:off x="9426095" y="5558513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50" name="Ovale 95">
              <a:extLst>
                <a:ext uri="{FF2B5EF4-FFF2-40B4-BE49-F238E27FC236}">
                  <a16:creationId xmlns:a16="http://schemas.microsoft.com/office/drawing/2014/main" id="{B5EEAA29-E853-BD1B-2BD6-826E4981D943}"/>
                </a:ext>
              </a:extLst>
            </p:cNvPr>
            <p:cNvSpPr/>
            <p:nvPr/>
          </p:nvSpPr>
          <p:spPr>
            <a:xfrm>
              <a:off x="9578937" y="4535619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  <p:sp>
          <p:nvSpPr>
            <p:cNvPr id="51" name="Ovale 96">
              <a:extLst>
                <a:ext uri="{FF2B5EF4-FFF2-40B4-BE49-F238E27FC236}">
                  <a16:creationId xmlns:a16="http://schemas.microsoft.com/office/drawing/2014/main" id="{2491C6DB-D12C-14E2-FC70-55CC2431A24E}"/>
                </a:ext>
              </a:extLst>
            </p:cNvPr>
            <p:cNvSpPr/>
            <p:nvPr/>
          </p:nvSpPr>
          <p:spPr>
            <a:xfrm>
              <a:off x="9957260" y="4146970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52" name="Ovale 97">
              <a:extLst>
                <a:ext uri="{FF2B5EF4-FFF2-40B4-BE49-F238E27FC236}">
                  <a16:creationId xmlns:a16="http://schemas.microsoft.com/office/drawing/2014/main" id="{DC012A2B-473C-7F5D-15C5-0E73A3BA1AFE}"/>
                </a:ext>
              </a:extLst>
            </p:cNvPr>
            <p:cNvSpPr/>
            <p:nvPr/>
          </p:nvSpPr>
          <p:spPr>
            <a:xfrm>
              <a:off x="10968141" y="4694746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712138D-F28E-E25C-518B-5428C046EB5E}"/>
              </a:ext>
            </a:extLst>
          </p:cNvPr>
          <p:cNvGrpSpPr/>
          <p:nvPr/>
        </p:nvGrpSpPr>
        <p:grpSpPr>
          <a:xfrm>
            <a:off x="6299724" y="4365635"/>
            <a:ext cx="2344650" cy="1576642"/>
            <a:chOff x="6401399" y="4351522"/>
            <a:chExt cx="2344650" cy="1576642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FD76892E-4BED-0F39-9F9B-1E941B9D7DFA}"/>
                </a:ext>
              </a:extLst>
            </p:cNvPr>
            <p:cNvGrpSpPr/>
            <p:nvPr/>
          </p:nvGrpSpPr>
          <p:grpSpPr>
            <a:xfrm>
              <a:off x="6544524" y="4458537"/>
              <a:ext cx="2201525" cy="1469627"/>
              <a:chOff x="6544524" y="4458537"/>
              <a:chExt cx="2201525" cy="1469627"/>
            </a:xfrm>
          </p:grpSpPr>
          <p:pic>
            <p:nvPicPr>
              <p:cNvPr id="68" name="Immagine 62">
                <a:extLst>
                  <a:ext uri="{FF2B5EF4-FFF2-40B4-BE49-F238E27FC236}">
                    <a16:creationId xmlns:a16="http://schemas.microsoft.com/office/drawing/2014/main" id="{1FD38AB8-205B-65C0-D3E5-BDA1E967C5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cstate="email" r:embed="rId1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606218" y="4555032"/>
                <a:ext cx="1061455" cy="988638"/>
              </a:xfrm>
              <a:prstGeom prst="rect">
                <a:avLst/>
              </a:prstGeom>
            </p:spPr>
          </p:pic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07280055-4CEB-F0E9-544F-EE7852A0EA31}"/>
                  </a:ext>
                </a:extLst>
              </p:cNvPr>
              <p:cNvGrpSpPr/>
              <p:nvPr/>
            </p:nvGrpSpPr>
            <p:grpSpPr>
              <a:xfrm>
                <a:off x="6544524" y="4458537"/>
                <a:ext cx="2201525" cy="1469627"/>
                <a:chOff x="6544524" y="4458537"/>
                <a:chExt cx="2201525" cy="1469627"/>
              </a:xfrm>
            </p:grpSpPr>
            <p:pic>
              <p:nvPicPr>
                <p:cNvPr id="70" name="Immagine 93">
                  <a:extLst>
                    <a:ext uri="{FF2B5EF4-FFF2-40B4-BE49-F238E27FC236}">
                      <a16:creationId xmlns:a16="http://schemas.microsoft.com/office/drawing/2014/main" id="{783D4AB8-B6C0-FCA6-3618-2B69ED4453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cstate="email" r:embed="rId16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r="788"/>
                <a:stretch/>
              </p:blipFill>
              <p:spPr>
                <a:xfrm>
                  <a:off x="6544524" y="4491177"/>
                  <a:ext cx="493133" cy="1436987"/>
                </a:xfrm>
                <a:prstGeom prst="rect">
                  <a:avLst/>
                </a:prstGeom>
              </p:spPr>
            </p:pic>
            <p:pic>
              <p:nvPicPr>
                <p:cNvPr id="71" name="Immagine 49">
                  <a:extLst>
                    <a:ext uri="{FF2B5EF4-FFF2-40B4-BE49-F238E27FC236}">
                      <a16:creationId xmlns:a16="http://schemas.microsoft.com/office/drawing/2014/main" id="{B22927E7-CD52-0DE8-8190-C833D2019F8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cstate="email" r:embed="rId17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68601" y="4669561"/>
                  <a:ext cx="677448" cy="375344"/>
                </a:xfrm>
                <a:prstGeom prst="rect">
                  <a:avLst/>
                </a:prstGeom>
              </p:spPr>
            </p:pic>
            <p:pic>
              <p:nvPicPr>
                <p:cNvPr id="72" name="Immagine 74">
                  <a:extLst>
                    <a:ext uri="{FF2B5EF4-FFF2-40B4-BE49-F238E27FC236}">
                      <a16:creationId xmlns:a16="http://schemas.microsoft.com/office/drawing/2014/main" id="{AF6C8A6E-D210-3779-4259-AC8E5F3E3C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cstate="email" r:embed="rId18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5504426">
                  <a:off x="6598261" y="4564762"/>
                  <a:ext cx="695958" cy="483508"/>
                </a:xfrm>
                <a:prstGeom prst="rect">
                  <a:avLst/>
                </a:prstGeom>
              </p:spPr>
            </p:pic>
            <p:pic>
              <p:nvPicPr>
                <p:cNvPr id="73" name="Immagine 81">
                  <a:extLst>
                    <a:ext uri="{FF2B5EF4-FFF2-40B4-BE49-F238E27FC236}">
                      <a16:creationId xmlns:a16="http://schemas.microsoft.com/office/drawing/2014/main" id="{5C7D1ECA-75AD-7A5C-FDEB-F72609C756C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cstate="email" r:embed="rId19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9455951">
                  <a:off x="7060512" y="4556348"/>
                  <a:ext cx="552313" cy="302286"/>
                </a:xfrm>
                <a:prstGeom prst="rect">
                  <a:avLst/>
                </a:prstGeom>
              </p:spPr>
            </p:pic>
            <p:pic>
              <p:nvPicPr>
                <p:cNvPr id="74" name="Immagine 5">
                  <a:extLst>
                    <a:ext uri="{FF2B5EF4-FFF2-40B4-BE49-F238E27FC236}">
                      <a16:creationId xmlns:a16="http://schemas.microsoft.com/office/drawing/2014/main" id="{58A7B8E8-3C95-705F-DC2D-2888ACA667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cstate="email" r:embed="rId20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-4399" r="799"/>
                <a:stretch/>
              </p:blipFill>
              <p:spPr>
                <a:xfrm>
                  <a:off x="7033326" y="4900971"/>
                  <a:ext cx="982784" cy="1015718"/>
                </a:xfrm>
                <a:prstGeom prst="rect">
                  <a:avLst/>
                </a:prstGeom>
              </p:spPr>
            </p:pic>
          </p:grpSp>
        </p:grpSp>
        <p:sp>
          <p:nvSpPr>
            <p:cNvPr id="61" name="Ovale 34">
              <a:extLst>
                <a:ext uri="{FF2B5EF4-FFF2-40B4-BE49-F238E27FC236}">
                  <a16:creationId xmlns:a16="http://schemas.microsoft.com/office/drawing/2014/main" id="{56D2F6B0-0748-26AD-A951-6E1DC56F8C0A}"/>
                </a:ext>
              </a:extLst>
            </p:cNvPr>
            <p:cNvSpPr/>
            <p:nvPr/>
          </p:nvSpPr>
          <p:spPr>
            <a:xfrm>
              <a:off x="6627158" y="4484719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62" name="Ovale 35">
              <a:extLst>
                <a:ext uri="{FF2B5EF4-FFF2-40B4-BE49-F238E27FC236}">
                  <a16:creationId xmlns:a16="http://schemas.microsoft.com/office/drawing/2014/main" id="{E1FFE3D2-176A-BC10-009B-7F3A7A568C80}"/>
                </a:ext>
              </a:extLst>
            </p:cNvPr>
            <p:cNvSpPr/>
            <p:nvPr/>
          </p:nvSpPr>
          <p:spPr>
            <a:xfrm>
              <a:off x="6401399" y="5695790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63" name="Ovale 40">
              <a:extLst>
                <a:ext uri="{FF2B5EF4-FFF2-40B4-BE49-F238E27FC236}">
                  <a16:creationId xmlns:a16="http://schemas.microsoft.com/office/drawing/2014/main" id="{BBA48A26-8409-FA60-8589-5926879C4E5A}"/>
                </a:ext>
              </a:extLst>
            </p:cNvPr>
            <p:cNvSpPr/>
            <p:nvPr/>
          </p:nvSpPr>
          <p:spPr>
            <a:xfrm>
              <a:off x="7262310" y="4351522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64" name="Ovale 41">
              <a:extLst>
                <a:ext uri="{FF2B5EF4-FFF2-40B4-BE49-F238E27FC236}">
                  <a16:creationId xmlns:a16="http://schemas.microsoft.com/office/drawing/2014/main" id="{D025DF9C-12B4-53EC-0B82-E81133F0FFAE}"/>
                </a:ext>
              </a:extLst>
            </p:cNvPr>
            <p:cNvSpPr/>
            <p:nvPr/>
          </p:nvSpPr>
          <p:spPr>
            <a:xfrm>
              <a:off x="8434180" y="5114613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  <p:sp>
          <p:nvSpPr>
            <p:cNvPr id="65" name="Ovale 42">
              <a:extLst>
                <a:ext uri="{FF2B5EF4-FFF2-40B4-BE49-F238E27FC236}">
                  <a16:creationId xmlns:a16="http://schemas.microsoft.com/office/drawing/2014/main" id="{2A6DFF1D-BC7E-E359-6487-82C9D03129A2}"/>
                </a:ext>
              </a:extLst>
            </p:cNvPr>
            <p:cNvSpPr/>
            <p:nvPr/>
          </p:nvSpPr>
          <p:spPr>
            <a:xfrm>
              <a:off x="8333188" y="4441874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7</a:t>
              </a:r>
            </a:p>
          </p:txBody>
        </p:sp>
        <p:sp>
          <p:nvSpPr>
            <p:cNvPr id="66" name="Ovale 39">
              <a:extLst>
                <a:ext uri="{FF2B5EF4-FFF2-40B4-BE49-F238E27FC236}">
                  <a16:creationId xmlns:a16="http://schemas.microsoft.com/office/drawing/2014/main" id="{5FA849B0-AA99-256A-C980-0F57DF10E61A}"/>
                </a:ext>
              </a:extLst>
            </p:cNvPr>
            <p:cNvSpPr/>
            <p:nvPr/>
          </p:nvSpPr>
          <p:spPr>
            <a:xfrm>
              <a:off x="6486495" y="5215311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  <p:sp>
          <p:nvSpPr>
            <p:cNvPr id="67" name="Ovale 33">
              <a:extLst>
                <a:ext uri="{FF2B5EF4-FFF2-40B4-BE49-F238E27FC236}">
                  <a16:creationId xmlns:a16="http://schemas.microsoft.com/office/drawing/2014/main" id="{32995EDC-B8F4-6C18-FB51-70CDC7B9C2BA}"/>
                </a:ext>
              </a:extLst>
            </p:cNvPr>
            <p:cNvSpPr/>
            <p:nvPr/>
          </p:nvSpPr>
          <p:spPr>
            <a:xfrm>
              <a:off x="7957207" y="5574793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pic>
        <p:nvPicPr>
          <p:cNvPr id="75" name="Immagine 18">
            <a:extLst>
              <a:ext uri="{FF2B5EF4-FFF2-40B4-BE49-F238E27FC236}">
                <a16:creationId xmlns:a16="http://schemas.microsoft.com/office/drawing/2014/main" id="{E93B2F0F-6C00-0348-EB6C-8DC8B88C66B4}"/>
              </a:ext>
            </a:extLst>
          </p:cNvPr>
          <p:cNvPicPr>
            <a:picLocks/>
          </p:cNvPicPr>
          <p:nvPr/>
        </p:nvPicPr>
        <p:blipFill rotWithShape="1">
          <a:blip cstate="email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699" l="693" r="-17072" t="993"/>
          <a:stretch/>
        </p:blipFill>
        <p:spPr>
          <a:xfrm>
            <a:off x="10971911" y="488645"/>
            <a:ext cx="740664" cy="740664"/>
          </a:xfrm>
          <a:prstGeom prst="flowChartConnector">
            <a:avLst/>
          </a:prstGeom>
          <a:solidFill>
            <a:schemeClr val="accent3"/>
          </a:solidFill>
        </p:spPr>
      </p:pic>
      <p:sp>
        <p:nvSpPr>
          <p:cNvPr id="76" name="CasellaDiTesto 19">
            <a:extLst>
              <a:ext uri="{FF2B5EF4-FFF2-40B4-BE49-F238E27FC236}">
                <a16:creationId xmlns:a16="http://schemas.microsoft.com/office/drawing/2014/main" id="{444368D4-1189-E41D-4368-E90258785CE9}"/>
              </a:ext>
            </a:extLst>
          </p:cNvPr>
          <p:cNvSpPr txBox="1"/>
          <p:nvPr/>
        </p:nvSpPr>
        <p:spPr>
          <a:xfrm>
            <a:off x="9481724" y="643534"/>
            <a:ext cx="1406189" cy="430887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algn="ctr"/>
            <a:r>
              <a:rPr dirty="0" lang="it-IT" sz="1400"/>
              <a:t>EXA connection with PIN</a:t>
            </a:r>
          </a:p>
        </p:txBody>
      </p:sp>
    </p:spTree>
    <p:extLst>
      <p:ext uri="{BB962C8B-B14F-4D97-AF65-F5344CB8AC3E}">
        <p14:creationId xmlns:p14="http://schemas.microsoft.com/office/powerpoint/2010/main" val="987053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5DDB23D-E0E9-BB98-00D9-0625065D709C}"/>
              </a:ext>
            </a:extLst>
          </p:cNvPr>
          <p:cNvSpPr/>
          <p:nvPr/>
        </p:nvSpPr>
        <p:spPr>
          <a:xfrm>
            <a:off x="0" y="0"/>
            <a:ext cx="1219200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EE359BA-A2B1-DB23-14E9-A9115351AB61}"/>
              </a:ext>
            </a:extLst>
          </p:cNvPr>
          <p:cNvSpPr>
            <a:spLocks noGrp="1"/>
          </p:cNvSpPr>
          <p:nvPr>
            <p:ph idx="18" sz="quarter"/>
          </p:nvPr>
        </p:nvSpPr>
        <p:spPr>
          <a:xfrm>
            <a:off x="479425" y="1419099"/>
            <a:ext cx="3559175" cy="4610837"/>
          </a:xfrm>
        </p:spPr>
        <p:txBody>
          <a:bodyPr tIns="822960"/>
          <a:lstStyle/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Flex conductive hose 3 m + sleeves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AISI304 bent connection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Conductive cone</a:t>
            </a:r>
          </a:p>
          <a:p>
            <a:endParaRPr lang="en-US" sz="11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0411E7-FD46-BCD9-0B79-B5F8694146EC}"/>
              </a:ext>
            </a:extLst>
          </p:cNvPr>
          <p:cNvSpPr>
            <a:spLocks noGrp="1"/>
          </p:cNvSpPr>
          <p:nvPr>
            <p:ph idx="21" sz="quarter"/>
          </p:nvPr>
        </p:nvSpPr>
        <p:spPr>
          <a:xfrm>
            <a:off x="4316412" y="1419099"/>
            <a:ext cx="3559175" cy="4610837"/>
          </a:xfrm>
        </p:spPr>
        <p:txBody>
          <a:bodyPr tIns="822960"/>
          <a:lstStyle/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Flex conductive hose 3 m + sleeves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AISI304 bent connection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Conductive cone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AISI 304 flat lance 300 mm </a:t>
            </a:r>
            <a:r>
              <a:rPr lang="en-US" sz="1100">
                <a:solidFill>
                  <a:schemeClr val="accent3"/>
                </a:solidFill>
                <a:latin typeface="+mj-lt"/>
              </a:rPr>
              <a:t>NEW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Antistatic floor nozzle 300 mm </a:t>
            </a:r>
            <a:r>
              <a:rPr lang="en-US" sz="1100">
                <a:solidFill>
                  <a:schemeClr val="accent3"/>
                </a:solidFill>
                <a:latin typeface="+mj-lt"/>
              </a:rPr>
              <a:t>NEW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AISI 304 small handgrip 2 parts </a:t>
            </a:r>
            <a:r>
              <a:rPr lang="en-US" sz="1100">
                <a:solidFill>
                  <a:schemeClr val="accent3"/>
                </a:solidFill>
                <a:latin typeface="+mj-lt"/>
              </a:rPr>
              <a:t>NEW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Round antistatic brush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endParaRPr lang="en-US" sz="110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3ABAF0-C122-D4C1-1D14-737C19156635}"/>
              </a:ext>
            </a:extLst>
          </p:cNvPr>
          <p:cNvSpPr>
            <a:spLocks noGrp="1"/>
          </p:cNvSpPr>
          <p:nvPr>
            <p:ph idx="22" sz="quarter"/>
          </p:nvPr>
        </p:nvSpPr>
        <p:spPr>
          <a:xfrm>
            <a:off x="8153400" y="1419099"/>
            <a:ext cx="3559175" cy="4610837"/>
          </a:xfrm>
        </p:spPr>
        <p:txBody>
          <a:bodyPr tIns="822960"/>
          <a:lstStyle/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Antistatic FDA transparent hose 3 m + sleeves,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AISI 304 bent connection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Silicone Antistatic FDA Cone 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Flat lance AISI 300 mm </a:t>
            </a:r>
            <a:r>
              <a:rPr lang="en-US" sz="1100">
                <a:solidFill>
                  <a:schemeClr val="accent3"/>
                </a:solidFill>
                <a:latin typeface="+mj-lt"/>
              </a:rPr>
              <a:t>NEW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Reducer Ø40/Ø32 SS 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Flexible nozzle autoclavable Ø32	 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r>
              <a:rPr lang="en-US" sz="1100"/>
              <a:t>AISI 304 flat lance (300 mm)</a:t>
            </a:r>
          </a:p>
          <a:p>
            <a:pPr indent="-228600" marL="228600">
              <a:buClr>
                <a:schemeClr val="accent3"/>
              </a:buClr>
              <a:buFont typeface="+mj-lt"/>
              <a:buAutoNum type="arabicPeriod"/>
            </a:pPr>
            <a:endParaRPr lang="en-US" sz="11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CCDAAA-1C54-64F5-16B1-DC8F6F894DFC}"/>
              </a:ext>
            </a:extLst>
          </p:cNvPr>
          <p:cNvSpPr>
            <a:spLocks noGrp="1"/>
          </p:cNvSpPr>
          <p:nvPr>
            <p:ph idx="24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076432-F51C-ED6B-1317-3ED457323FA9}"/>
              </a:ext>
            </a:extLst>
          </p:cNvPr>
          <p:cNvSpPr>
            <a:spLocks noGrp="1"/>
          </p:cNvSpPr>
          <p:nvPr>
            <p:ph idx="25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1E51AC-15DF-E3AB-71F5-D7EEA07561B6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>
          <a:xfrm>
            <a:off x="475521" y="873877"/>
            <a:ext cx="7396162" cy="376456"/>
          </a:xfrm>
        </p:spPr>
        <p:txBody>
          <a:bodyPr/>
          <a:lstStyle/>
          <a:p>
            <a:r>
              <a:rPr lang="en-US"/>
              <a:t>ACD Ø40 mm accessories kits </a:t>
            </a:r>
          </a:p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7D0447B-A426-19CC-405E-1E03F318D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396162" cy="388013"/>
          </a:xfrm>
        </p:spPr>
        <p:txBody>
          <a:bodyPr/>
          <a:lstStyle/>
          <a:p>
            <a:r>
              <a:rPr lang="en-US"/>
              <a:t>Mini IVS ACD and CIID2 </a:t>
            </a:r>
          </a:p>
        </p:txBody>
      </p:sp>
      <p:pic>
        <p:nvPicPr>
          <p:cNvPr id="9" name="Immagine 18">
            <a:extLst>
              <a:ext uri="{FF2B5EF4-FFF2-40B4-BE49-F238E27FC236}">
                <a16:creationId xmlns:a16="http://schemas.microsoft.com/office/drawing/2014/main" id="{7452AD07-4F7F-D495-CC66-181647E953B1}"/>
              </a:ext>
            </a:extLst>
          </p:cNvPr>
          <p:cNvPicPr>
            <a:picLocks/>
          </p:cNvPicPr>
          <p:nvPr/>
        </p:nvPicPr>
        <p:blipFill rotWithShape="1"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715" l="181" r="-3864" t="855"/>
          <a:stretch/>
        </p:blipFill>
        <p:spPr>
          <a:xfrm>
            <a:off x="10973863" y="480063"/>
            <a:ext cx="740664" cy="740664"/>
          </a:xfrm>
          <a:prstGeom prst="flowChartConnector">
            <a:avLst/>
          </a:prstGeom>
          <a:solidFill>
            <a:schemeClr val="accent3"/>
          </a:solidFill>
        </p:spPr>
      </p:pic>
      <p:sp>
        <p:nvSpPr>
          <p:cNvPr id="10" name="CasellaDiTesto 19">
            <a:extLst>
              <a:ext uri="{FF2B5EF4-FFF2-40B4-BE49-F238E27FC236}">
                <a16:creationId xmlns:a16="http://schemas.microsoft.com/office/drawing/2014/main" id="{9BD15A58-9A85-FD10-0955-29857EF715F5}"/>
              </a:ext>
            </a:extLst>
          </p:cNvPr>
          <p:cNvSpPr txBox="1"/>
          <p:nvPr/>
        </p:nvSpPr>
        <p:spPr>
          <a:xfrm>
            <a:off x="9483676" y="634952"/>
            <a:ext cx="1406189" cy="430887"/>
          </a:xfrm>
          <a:prstGeom prst="rect">
            <a:avLst/>
          </a:prstGeom>
          <a:noFill/>
        </p:spPr>
        <p:txBody>
          <a:bodyPr bIns="0" lIns="0" rIns="0" rtlCol="0" tIns="0" wrap="square">
            <a:spAutoFit/>
          </a:bodyPr>
          <a:lstStyle/>
          <a:p>
            <a:pPr algn="ctr"/>
            <a:r>
              <a:rPr lang="it-IT" sz="1400"/>
              <a:t>ACD sleeve connection</a:t>
            </a:r>
            <a:endParaRPr dirty="0" lang="it-IT" sz="140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722B504-F368-36FA-D763-1AA9ED80E3B5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3559174" cy="818896"/>
          </a:xfrm>
          <a:prstGeom prst="rect">
            <a:avLst/>
          </a:prstGeom>
        </p:spPr>
        <p:txBody>
          <a:bodyPr lIns="216000" rIns="144000" tIns="18288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lang="en-US" sz="1200">
                <a:solidFill>
                  <a:schemeClr val="accent3"/>
                </a:solidFill>
                <a:latin typeface="+mj-lt"/>
              </a:rPr>
              <a:t>Basic ANTIST. Kit ACD Ø40</a:t>
            </a:r>
          </a:p>
          <a:p>
            <a:pPr indent="0" marL="0">
              <a:buNone/>
            </a:pPr>
            <a:r>
              <a:rPr i="1" lang="en-US" sz="1200">
                <a:solidFill>
                  <a:srgbClr val="8997A4"/>
                </a:solidFill>
              </a:rPr>
              <a:t>4072400825</a:t>
            </a:r>
            <a:endParaRPr lang="en-US">
              <a:solidFill>
                <a:schemeClr val="accent3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7D06586-2F19-4BCD-848E-D0C6E57B1CA1}"/>
              </a:ext>
            </a:extLst>
          </p:cNvPr>
          <p:cNvSpPr txBox="1">
            <a:spLocks/>
          </p:cNvSpPr>
          <p:nvPr/>
        </p:nvSpPr>
        <p:spPr>
          <a:xfrm>
            <a:off x="4316412" y="1419099"/>
            <a:ext cx="3559174" cy="818896"/>
          </a:xfrm>
          <a:prstGeom prst="rect">
            <a:avLst/>
          </a:prstGeom>
        </p:spPr>
        <p:txBody>
          <a:bodyPr lIns="216000" rIns="144000" tIns="18288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lang="en-US" sz="1200">
                <a:solidFill>
                  <a:schemeClr val="accent3"/>
                </a:solidFill>
                <a:latin typeface="+mj-lt"/>
              </a:rPr>
              <a:t>General kit ACD Ø40</a:t>
            </a:r>
          </a:p>
          <a:p>
            <a:pPr indent="0" marL="0">
              <a:buNone/>
            </a:pPr>
            <a:r>
              <a:rPr i="1" lang="en-US" sz="1200">
                <a:solidFill>
                  <a:srgbClr val="8997A4"/>
                </a:solidFill>
              </a:rPr>
              <a:t>4072400774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E692925-C878-42B4-88AC-D43DDBF6FBFE}"/>
              </a:ext>
            </a:extLst>
          </p:cNvPr>
          <p:cNvSpPr txBox="1">
            <a:spLocks/>
          </p:cNvSpPr>
          <p:nvPr/>
        </p:nvSpPr>
        <p:spPr>
          <a:xfrm>
            <a:off x="8153400" y="1419099"/>
            <a:ext cx="3559174" cy="818896"/>
          </a:xfrm>
          <a:prstGeom prst="rect">
            <a:avLst/>
          </a:prstGeom>
        </p:spPr>
        <p:txBody>
          <a:bodyPr lIns="216000" rIns="144000" tIns="18288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lang="de-DE" sz="1200">
                <a:solidFill>
                  <a:schemeClr val="accent3"/>
                </a:solidFill>
                <a:latin typeface="+mj-lt"/>
              </a:rPr>
              <a:t>Machineries FDA ACD kit Ø40</a:t>
            </a:r>
          </a:p>
          <a:p>
            <a:pPr indent="0" marL="0">
              <a:buNone/>
            </a:pPr>
            <a:r>
              <a:rPr i="1" lang="en-US" sz="1200">
                <a:solidFill>
                  <a:srgbClr val="8997A4"/>
                </a:solidFill>
              </a:rPr>
              <a:t>4072400826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7E26067-1975-4B8A-9151-A4AF64CA9C5C}"/>
              </a:ext>
            </a:extLst>
          </p:cNvPr>
          <p:cNvGrpSpPr/>
          <p:nvPr/>
        </p:nvGrpSpPr>
        <p:grpSpPr>
          <a:xfrm>
            <a:off x="988258" y="4030639"/>
            <a:ext cx="2241180" cy="1713062"/>
            <a:chOff x="879921" y="4157854"/>
            <a:chExt cx="2241180" cy="1713062"/>
          </a:xfrm>
        </p:grpSpPr>
        <p:pic>
          <p:nvPicPr>
            <p:cNvPr id="18" name="Immagine 83">
              <a:extLst>
                <a:ext uri="{FF2B5EF4-FFF2-40B4-BE49-F238E27FC236}">
                  <a16:creationId xmlns:a16="http://schemas.microsoft.com/office/drawing/2014/main" id="{403F3ED1-9015-4150-A5BB-1D4F233AEC6C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 flipV="1" rot="17046960">
              <a:off x="1535318" y="4103920"/>
              <a:ext cx="701132" cy="809000"/>
            </a:xfrm>
            <a:prstGeom prst="rect">
              <a:avLst/>
            </a:prstGeom>
          </p:spPr>
        </p:pic>
        <p:pic>
          <p:nvPicPr>
            <p:cNvPr id="19" name="Immagine 84">
              <a:extLst>
                <a:ext uri="{FF2B5EF4-FFF2-40B4-BE49-F238E27FC236}">
                  <a16:creationId xmlns:a16="http://schemas.microsoft.com/office/drawing/2014/main" id="{7C8177CB-6435-4C1B-B1CC-290813821CF3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700000">
              <a:off x="1059169" y="4738826"/>
              <a:ext cx="216592" cy="575087"/>
            </a:xfrm>
            <a:prstGeom prst="rect">
              <a:avLst/>
            </a:prstGeom>
          </p:spPr>
        </p:pic>
        <p:pic>
          <p:nvPicPr>
            <p:cNvPr id="20" name="Immagine 85">
              <a:extLst>
                <a:ext uri="{FF2B5EF4-FFF2-40B4-BE49-F238E27FC236}">
                  <a16:creationId xmlns:a16="http://schemas.microsoft.com/office/drawing/2014/main" id="{9619F009-38CB-4608-A363-0A957B5E192E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01015" y="4782222"/>
              <a:ext cx="1220086" cy="1088694"/>
            </a:xfrm>
            <a:prstGeom prst="rect">
              <a:avLst/>
            </a:prstGeom>
          </p:spPr>
        </p:pic>
        <p:sp>
          <p:nvSpPr>
            <p:cNvPr id="21" name="Ovale 1">
              <a:extLst>
                <a:ext uri="{FF2B5EF4-FFF2-40B4-BE49-F238E27FC236}">
                  <a16:creationId xmlns:a16="http://schemas.microsoft.com/office/drawing/2014/main" id="{B8EF3322-FD4B-47C2-A6AC-ED9CDEA467AC}"/>
                </a:ext>
              </a:extLst>
            </p:cNvPr>
            <p:cNvSpPr/>
            <p:nvPr/>
          </p:nvSpPr>
          <p:spPr>
            <a:xfrm>
              <a:off x="1604250" y="5310215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22" name="Ovale 11">
              <a:extLst>
                <a:ext uri="{FF2B5EF4-FFF2-40B4-BE49-F238E27FC236}">
                  <a16:creationId xmlns:a16="http://schemas.microsoft.com/office/drawing/2014/main" id="{1E13920F-EEC4-46C0-AF1D-19487895A306}"/>
                </a:ext>
              </a:extLst>
            </p:cNvPr>
            <p:cNvSpPr/>
            <p:nvPr/>
          </p:nvSpPr>
          <p:spPr>
            <a:xfrm>
              <a:off x="1424391" y="4245197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23" name="Ovale 17">
              <a:extLst>
                <a:ext uri="{FF2B5EF4-FFF2-40B4-BE49-F238E27FC236}">
                  <a16:creationId xmlns:a16="http://schemas.microsoft.com/office/drawing/2014/main" id="{C2FF7A9E-9654-421C-946B-636637851861}"/>
                </a:ext>
              </a:extLst>
            </p:cNvPr>
            <p:cNvSpPr/>
            <p:nvPr/>
          </p:nvSpPr>
          <p:spPr>
            <a:xfrm>
              <a:off x="998593" y="4615318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276C084-546B-41E0-933F-CB369432CBD7}"/>
              </a:ext>
            </a:extLst>
          </p:cNvPr>
          <p:cNvGrpSpPr/>
          <p:nvPr/>
        </p:nvGrpSpPr>
        <p:grpSpPr>
          <a:xfrm>
            <a:off x="4575603" y="3977309"/>
            <a:ext cx="2929467" cy="1756588"/>
            <a:chOff x="4525408" y="3956906"/>
            <a:chExt cx="2929467" cy="1756588"/>
          </a:xfrm>
        </p:grpSpPr>
        <p:pic>
          <p:nvPicPr>
            <p:cNvPr id="25" name="Immagine 52">
              <a:extLst>
                <a:ext uri="{FF2B5EF4-FFF2-40B4-BE49-F238E27FC236}">
                  <a16:creationId xmlns:a16="http://schemas.microsoft.com/office/drawing/2014/main" id="{5C247A2C-2617-48B9-94BE-9A3A475B07CD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65253" y="3956906"/>
              <a:ext cx="1581276" cy="1169792"/>
            </a:xfrm>
            <a:prstGeom prst="rect">
              <a:avLst/>
            </a:prstGeom>
          </p:spPr>
        </p:pic>
        <p:pic>
          <p:nvPicPr>
            <p:cNvPr id="39" name="Immagine 44">
              <a:extLst>
                <a:ext uri="{FF2B5EF4-FFF2-40B4-BE49-F238E27FC236}">
                  <a16:creationId xmlns:a16="http://schemas.microsoft.com/office/drawing/2014/main" id="{5ED92389-A53E-4371-B57B-5A04A928C38F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 flipV="1" rot="17046960">
              <a:off x="5128467" y="4045299"/>
              <a:ext cx="645143" cy="744396"/>
            </a:xfrm>
            <a:prstGeom prst="rect">
              <a:avLst/>
            </a:prstGeom>
          </p:spPr>
        </p:pic>
        <p:pic>
          <p:nvPicPr>
            <p:cNvPr id="40" name="Immagine 50">
              <a:extLst>
                <a:ext uri="{FF2B5EF4-FFF2-40B4-BE49-F238E27FC236}">
                  <a16:creationId xmlns:a16="http://schemas.microsoft.com/office/drawing/2014/main" id="{F3CAB2FF-245A-4D91-AB20-D47836C5DCAA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700000">
              <a:off x="4690342" y="4629504"/>
              <a:ext cx="199296" cy="529163"/>
            </a:xfrm>
            <a:prstGeom prst="rect">
              <a:avLst/>
            </a:prstGeom>
          </p:spPr>
        </p:pic>
        <p:pic>
          <p:nvPicPr>
            <p:cNvPr id="41" name="Immagine 48">
              <a:extLst>
                <a:ext uri="{FF2B5EF4-FFF2-40B4-BE49-F238E27FC236}">
                  <a16:creationId xmlns:a16="http://schemas.microsoft.com/office/drawing/2014/main" id="{84BF02FD-9321-477A-83D3-50F7A490505A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15727" y="4711739"/>
              <a:ext cx="1122655" cy="1001755"/>
            </a:xfrm>
            <a:prstGeom prst="rect">
              <a:avLst/>
            </a:prstGeom>
          </p:spPr>
        </p:pic>
        <p:pic>
          <p:nvPicPr>
            <p:cNvPr id="38" name="Immagine 81">
              <a:extLst>
                <a:ext uri="{FF2B5EF4-FFF2-40B4-BE49-F238E27FC236}">
                  <a16:creationId xmlns:a16="http://schemas.microsoft.com/office/drawing/2014/main" id="{764EDBD7-6399-45E2-B9B1-7444C09CD41B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7576" y="5473987"/>
              <a:ext cx="668781" cy="233597"/>
            </a:xfrm>
            <a:prstGeom prst="rect">
              <a:avLst/>
            </a:prstGeom>
          </p:spPr>
        </p:pic>
        <p:pic>
          <p:nvPicPr>
            <p:cNvPr id="36" name="Immagine 4">
              <a:extLst>
                <a:ext uri="{FF2B5EF4-FFF2-40B4-BE49-F238E27FC236}">
                  <a16:creationId xmlns:a16="http://schemas.microsoft.com/office/drawing/2014/main" id="{97EA3555-1A53-4C0A-B514-BBAAD1D0E5BC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37121" y="5292580"/>
              <a:ext cx="368178" cy="315905"/>
            </a:xfrm>
            <a:prstGeom prst="rect">
              <a:avLst/>
            </a:prstGeom>
          </p:spPr>
        </p:pic>
        <p:sp>
          <p:nvSpPr>
            <p:cNvPr id="27" name="Ovale 25">
              <a:extLst>
                <a:ext uri="{FF2B5EF4-FFF2-40B4-BE49-F238E27FC236}">
                  <a16:creationId xmlns:a16="http://schemas.microsoft.com/office/drawing/2014/main" id="{161AD885-FC5E-4C3A-89D1-885CFC672CB6}"/>
                </a:ext>
              </a:extLst>
            </p:cNvPr>
            <p:cNvSpPr/>
            <p:nvPr/>
          </p:nvSpPr>
          <p:spPr>
            <a:xfrm>
              <a:off x="5442476" y="4694917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28" name="Ovale 26">
              <a:extLst>
                <a:ext uri="{FF2B5EF4-FFF2-40B4-BE49-F238E27FC236}">
                  <a16:creationId xmlns:a16="http://schemas.microsoft.com/office/drawing/2014/main" id="{EEE40A9D-6D63-4463-9412-345697BA7B42}"/>
                </a:ext>
              </a:extLst>
            </p:cNvPr>
            <p:cNvSpPr/>
            <p:nvPr/>
          </p:nvSpPr>
          <p:spPr>
            <a:xfrm>
              <a:off x="5079497" y="4065029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29" name="Ovale 27">
              <a:extLst>
                <a:ext uri="{FF2B5EF4-FFF2-40B4-BE49-F238E27FC236}">
                  <a16:creationId xmlns:a16="http://schemas.microsoft.com/office/drawing/2014/main" id="{E04BA648-7DD4-409A-AEA8-1894C8F91DED}"/>
                </a:ext>
              </a:extLst>
            </p:cNvPr>
            <p:cNvSpPr/>
            <p:nvPr/>
          </p:nvSpPr>
          <p:spPr>
            <a:xfrm>
              <a:off x="4622989" y="4420808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30" name="Ovale 28">
              <a:extLst>
                <a:ext uri="{FF2B5EF4-FFF2-40B4-BE49-F238E27FC236}">
                  <a16:creationId xmlns:a16="http://schemas.microsoft.com/office/drawing/2014/main" id="{52B3E32A-7E77-47E7-8E40-1DAA9100562A}"/>
                </a:ext>
              </a:extLst>
            </p:cNvPr>
            <p:cNvSpPr/>
            <p:nvPr/>
          </p:nvSpPr>
          <p:spPr>
            <a:xfrm>
              <a:off x="5034746" y="5270988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31" name="Ovale 29">
              <a:extLst>
                <a:ext uri="{FF2B5EF4-FFF2-40B4-BE49-F238E27FC236}">
                  <a16:creationId xmlns:a16="http://schemas.microsoft.com/office/drawing/2014/main" id="{AACFDD2D-EF8B-4FCD-BDDD-72A2ACFDFEC1}"/>
                </a:ext>
              </a:extLst>
            </p:cNvPr>
            <p:cNvSpPr/>
            <p:nvPr/>
          </p:nvSpPr>
          <p:spPr>
            <a:xfrm>
              <a:off x="7189267" y="4334323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  <p:sp>
          <p:nvSpPr>
            <p:cNvPr id="32" name="Ovale 30">
              <a:extLst>
                <a:ext uri="{FF2B5EF4-FFF2-40B4-BE49-F238E27FC236}">
                  <a16:creationId xmlns:a16="http://schemas.microsoft.com/office/drawing/2014/main" id="{66B555F8-770C-4A91-ABF3-63D3A4FAC300}"/>
                </a:ext>
              </a:extLst>
            </p:cNvPr>
            <p:cNvSpPr/>
            <p:nvPr/>
          </p:nvSpPr>
          <p:spPr>
            <a:xfrm>
              <a:off x="6074263" y="4169731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  <p:sp>
          <p:nvSpPr>
            <p:cNvPr id="33" name="Ovale 31">
              <a:extLst>
                <a:ext uri="{FF2B5EF4-FFF2-40B4-BE49-F238E27FC236}">
                  <a16:creationId xmlns:a16="http://schemas.microsoft.com/office/drawing/2014/main" id="{084DE006-2EBD-47F6-A23F-DCF13A5866D6}"/>
                </a:ext>
              </a:extLst>
            </p:cNvPr>
            <p:cNvSpPr/>
            <p:nvPr/>
          </p:nvSpPr>
          <p:spPr>
            <a:xfrm>
              <a:off x="7234089" y="5248058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7</a:t>
              </a:r>
            </a:p>
          </p:txBody>
        </p:sp>
        <p:pic>
          <p:nvPicPr>
            <p:cNvPr id="34" name="Immagine 47">
              <a:extLst>
                <a:ext uri="{FF2B5EF4-FFF2-40B4-BE49-F238E27FC236}">
                  <a16:creationId xmlns:a16="http://schemas.microsoft.com/office/drawing/2014/main" id="{3543FBE3-562A-4556-B7CA-4EB42BA632FB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3660" y="4520860"/>
              <a:ext cx="531215" cy="365925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41C4A26-9253-4CB3-B2F7-A93059235E8D}"/>
              </a:ext>
            </a:extLst>
          </p:cNvPr>
          <p:cNvGrpSpPr/>
          <p:nvPr/>
        </p:nvGrpSpPr>
        <p:grpSpPr>
          <a:xfrm>
            <a:off x="8652474" y="3970625"/>
            <a:ext cx="2459428" cy="1762318"/>
            <a:chOff x="8564712" y="4097840"/>
            <a:chExt cx="2459428" cy="1762318"/>
          </a:xfrm>
        </p:grpSpPr>
        <p:pic>
          <p:nvPicPr>
            <p:cNvPr id="55" name="Immagine 13">
              <a:extLst>
                <a:ext uri="{FF2B5EF4-FFF2-40B4-BE49-F238E27FC236}">
                  <a16:creationId xmlns:a16="http://schemas.microsoft.com/office/drawing/2014/main" id="{F8B99ADF-D959-4118-9B60-17D755C077FB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1116972">
              <a:off x="8632649" y="5161725"/>
              <a:ext cx="456219" cy="335986"/>
            </a:xfrm>
            <a:prstGeom prst="rect">
              <a:avLst/>
            </a:prstGeom>
          </p:spPr>
        </p:pic>
        <p:pic>
          <p:nvPicPr>
            <p:cNvPr id="56" name="Immagine 14">
              <a:extLst>
                <a:ext uri="{FF2B5EF4-FFF2-40B4-BE49-F238E27FC236}">
                  <a16:creationId xmlns:a16="http://schemas.microsoft.com/office/drawing/2014/main" id="{9EE10704-0D20-4A8E-81D5-34F6B9D847B4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 flipV="1" rot="17046960">
              <a:off x="9213914" y="4435859"/>
              <a:ext cx="715771" cy="817714"/>
            </a:xfrm>
            <a:prstGeom prst="rect">
              <a:avLst/>
            </a:prstGeom>
          </p:spPr>
        </p:pic>
        <p:pic>
          <p:nvPicPr>
            <p:cNvPr id="57" name="Immagine 15">
              <a:extLst>
                <a:ext uri="{FF2B5EF4-FFF2-40B4-BE49-F238E27FC236}">
                  <a16:creationId xmlns:a16="http://schemas.microsoft.com/office/drawing/2014/main" id="{ED27E739-6B12-4174-A1CC-666CC1317C98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0740" y="5492020"/>
              <a:ext cx="734652" cy="259170"/>
            </a:xfrm>
            <a:prstGeom prst="rect">
              <a:avLst/>
            </a:prstGeom>
          </p:spPr>
        </p:pic>
        <p:pic>
          <p:nvPicPr>
            <p:cNvPr id="51" name="Immagine 2">
              <a:extLst>
                <a:ext uri="{FF2B5EF4-FFF2-40B4-BE49-F238E27FC236}">
                  <a16:creationId xmlns:a16="http://schemas.microsoft.com/office/drawing/2014/main" id="{836357D9-C12A-4076-8DF3-EF970973F5BA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 rot="20749839">
              <a:off x="8564712" y="4515437"/>
              <a:ext cx="456401" cy="354170"/>
            </a:xfrm>
            <a:prstGeom prst="rect">
              <a:avLst/>
            </a:prstGeom>
          </p:spPr>
        </p:pic>
        <p:pic>
          <p:nvPicPr>
            <p:cNvPr id="52" name="Immagine 22">
              <a:extLst>
                <a:ext uri="{FF2B5EF4-FFF2-40B4-BE49-F238E27FC236}">
                  <a16:creationId xmlns:a16="http://schemas.microsoft.com/office/drawing/2014/main" id="{D6A1B8F3-2076-412E-A696-3B2C95A87A1E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637136">
              <a:off x="9001959" y="4274572"/>
              <a:ext cx="242156" cy="186807"/>
            </a:xfrm>
            <a:prstGeom prst="rect">
              <a:avLst/>
            </a:prstGeom>
          </p:spPr>
        </p:pic>
        <p:sp>
          <p:nvSpPr>
            <p:cNvPr id="44" name="Ovale 32">
              <a:extLst>
                <a:ext uri="{FF2B5EF4-FFF2-40B4-BE49-F238E27FC236}">
                  <a16:creationId xmlns:a16="http://schemas.microsoft.com/office/drawing/2014/main" id="{2CD2254B-591B-4CC4-8A33-675151919B85}"/>
                </a:ext>
              </a:extLst>
            </p:cNvPr>
            <p:cNvSpPr/>
            <p:nvPr/>
          </p:nvSpPr>
          <p:spPr>
            <a:xfrm>
              <a:off x="10761180" y="4552543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  <p:sp>
          <p:nvSpPr>
            <p:cNvPr id="45" name="Ovale 33">
              <a:extLst>
                <a:ext uri="{FF2B5EF4-FFF2-40B4-BE49-F238E27FC236}">
                  <a16:creationId xmlns:a16="http://schemas.microsoft.com/office/drawing/2014/main" id="{03FCF048-014B-42DD-A720-32386328B415}"/>
                </a:ext>
              </a:extLst>
            </p:cNvPr>
            <p:cNvSpPr/>
            <p:nvPr/>
          </p:nvSpPr>
          <p:spPr>
            <a:xfrm>
              <a:off x="9170740" y="4634839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46" name="Ovale 34">
              <a:extLst>
                <a:ext uri="{FF2B5EF4-FFF2-40B4-BE49-F238E27FC236}">
                  <a16:creationId xmlns:a16="http://schemas.microsoft.com/office/drawing/2014/main" id="{242B0A38-FEEF-473F-9BD1-3B61D483C734}"/>
                </a:ext>
              </a:extLst>
            </p:cNvPr>
            <p:cNvSpPr/>
            <p:nvPr/>
          </p:nvSpPr>
          <p:spPr>
            <a:xfrm>
              <a:off x="8657047" y="5083764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47" name="Ovale 36">
              <a:extLst>
                <a:ext uri="{FF2B5EF4-FFF2-40B4-BE49-F238E27FC236}">
                  <a16:creationId xmlns:a16="http://schemas.microsoft.com/office/drawing/2014/main" id="{C56F51C8-E02E-426C-BAA2-47E3E8F0D747}"/>
                </a:ext>
              </a:extLst>
            </p:cNvPr>
            <p:cNvSpPr/>
            <p:nvPr/>
          </p:nvSpPr>
          <p:spPr>
            <a:xfrm>
              <a:off x="8628348" y="4400683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6</a:t>
              </a:r>
            </a:p>
          </p:txBody>
        </p:sp>
        <p:sp>
          <p:nvSpPr>
            <p:cNvPr id="48" name="Ovale 37">
              <a:extLst>
                <a:ext uri="{FF2B5EF4-FFF2-40B4-BE49-F238E27FC236}">
                  <a16:creationId xmlns:a16="http://schemas.microsoft.com/office/drawing/2014/main" id="{1A07859B-6D64-40AF-8AEC-3BB597163CF1}"/>
                </a:ext>
              </a:extLst>
            </p:cNvPr>
            <p:cNvSpPr/>
            <p:nvPr/>
          </p:nvSpPr>
          <p:spPr>
            <a:xfrm>
              <a:off x="8958445" y="4097840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  <p:sp>
          <p:nvSpPr>
            <p:cNvPr id="49" name="Ovale 38">
              <a:extLst>
                <a:ext uri="{FF2B5EF4-FFF2-40B4-BE49-F238E27FC236}">
                  <a16:creationId xmlns:a16="http://schemas.microsoft.com/office/drawing/2014/main" id="{206235BE-E1F6-42E3-B00F-7AFB9B5C07AF}"/>
                </a:ext>
              </a:extLst>
            </p:cNvPr>
            <p:cNvSpPr/>
            <p:nvPr/>
          </p:nvSpPr>
          <p:spPr>
            <a:xfrm>
              <a:off x="9396141" y="5322242"/>
              <a:ext cx="164592" cy="164592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rtlCol="0"/>
            <a:lstStyle/>
            <a:p>
              <a:pPr algn="ctr"/>
              <a:r>
                <a:rPr dirty="0" lang="it-IT" sz="95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pic>
          <p:nvPicPr>
            <p:cNvPr id="54" name="Immagine 9">
              <a:extLst>
                <a:ext uri="{FF2B5EF4-FFF2-40B4-BE49-F238E27FC236}">
                  <a16:creationId xmlns:a16="http://schemas.microsoft.com/office/drawing/2014/main" id="{BD0145CA-C22B-4A47-86AE-716494EB2A63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44" r="544"/>
            <a:stretch/>
          </p:blipFill>
          <p:spPr>
            <a:xfrm>
              <a:off x="9939357" y="4714702"/>
              <a:ext cx="1084783" cy="11454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9684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6C34A75-59CD-F0B5-84A1-75A12DA40791}"/>
              </a:ext>
            </a:extLst>
          </p:cNvPr>
          <p:cNvSpPr/>
          <p:nvPr/>
        </p:nvSpPr>
        <p:spPr>
          <a:xfrm>
            <a:off x="0" y="0"/>
            <a:ext cx="1219200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8" name="Segnaposto contenuto 1">
            <a:extLst>
              <a:ext uri="{FF2B5EF4-FFF2-40B4-BE49-F238E27FC236}">
                <a16:creationId xmlns:a16="http://schemas.microsoft.com/office/drawing/2014/main" id="{F1892563-4BA4-E10F-071A-E5C29624395B}"/>
              </a:ext>
            </a:extLst>
          </p:cNvPr>
          <p:cNvSpPr txBox="1">
            <a:spLocks/>
          </p:cNvSpPr>
          <p:nvPr/>
        </p:nvSpPr>
        <p:spPr>
          <a:xfrm>
            <a:off x="8160895" y="1119942"/>
            <a:ext cx="3539143" cy="49099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180000" bIns="216000" rtlCol="0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1400">
                <a:latin typeface="+mj-lt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endParaRPr lang="en-US"/>
          </a:p>
        </p:txBody>
      </p:sp>
      <p:sp>
        <p:nvSpPr>
          <p:cNvPr id="29" name="Segnaposto contenuto 1">
            <a:extLst>
              <a:ext uri="{FF2B5EF4-FFF2-40B4-BE49-F238E27FC236}">
                <a16:creationId xmlns:a16="http://schemas.microsoft.com/office/drawing/2014/main" id="{CA10E45C-E89F-D5A1-1C73-177D39224BF0}"/>
              </a:ext>
            </a:extLst>
          </p:cNvPr>
          <p:cNvSpPr txBox="1">
            <a:spLocks/>
          </p:cNvSpPr>
          <p:nvPr/>
        </p:nvSpPr>
        <p:spPr>
          <a:xfrm>
            <a:off x="8160895" y="1119942"/>
            <a:ext cx="3539143" cy="658642"/>
          </a:xfrm>
          <a:prstGeom prst="rect">
            <a:avLst/>
          </a:prstGeom>
          <a:solidFill>
            <a:schemeClr val="accent1"/>
          </a:solidFill>
          <a:effectLst/>
        </p:spPr>
        <p:txBody>
          <a:bodyPr vert="horz" wrap="square" lIns="216000" tIns="118872" rIns="180000" bIns="118872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it-IT">
                <a:solidFill>
                  <a:schemeClr val="bg1"/>
                </a:solidFill>
                <a:latin typeface="+mj-lt"/>
              </a:rPr>
              <a:t>General industry*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100">
                <a:solidFill>
                  <a:schemeClr val="bg1"/>
                </a:solidFill>
              </a:rPr>
              <a:t>General cleaning solution</a:t>
            </a:r>
          </a:p>
        </p:txBody>
      </p:sp>
      <p:sp>
        <p:nvSpPr>
          <p:cNvPr id="21" name="Segnaposto contenuto 1">
            <a:extLst>
              <a:ext uri="{FF2B5EF4-FFF2-40B4-BE49-F238E27FC236}">
                <a16:creationId xmlns:a16="http://schemas.microsoft.com/office/drawing/2014/main" id="{065DF30B-B32E-0112-D7DA-A784E780419B}"/>
              </a:ext>
            </a:extLst>
          </p:cNvPr>
          <p:cNvSpPr txBox="1">
            <a:spLocks/>
          </p:cNvSpPr>
          <p:nvPr/>
        </p:nvSpPr>
        <p:spPr>
          <a:xfrm>
            <a:off x="4258057" y="1119942"/>
            <a:ext cx="3675888" cy="49099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180000" bIns="216000" rtlCol="0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1400">
                <a:latin typeface="+mj-lt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endParaRPr lang="en-US"/>
          </a:p>
        </p:txBody>
      </p:sp>
      <p:sp>
        <p:nvSpPr>
          <p:cNvPr id="16" name="Segnaposto contenuto 1">
            <a:extLst>
              <a:ext uri="{FF2B5EF4-FFF2-40B4-BE49-F238E27FC236}">
                <a16:creationId xmlns:a16="http://schemas.microsoft.com/office/drawing/2014/main" id="{27EA0EE8-A7E5-337F-7845-5EE02BEE4087}"/>
              </a:ext>
            </a:extLst>
          </p:cNvPr>
          <p:cNvSpPr txBox="1">
            <a:spLocks/>
          </p:cNvSpPr>
          <p:nvPr/>
        </p:nvSpPr>
        <p:spPr>
          <a:xfrm>
            <a:off x="485483" y="1119942"/>
            <a:ext cx="3559175" cy="490999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180000" bIns="216000" rtlCol="0">
            <a:noAutofit/>
          </a:bodyPr>
          <a:lstStyle>
            <a:lvl1pPr indent="0" algn="ctr">
              <a:spcBef>
                <a:spcPct val="20000"/>
              </a:spcBef>
              <a:buFont typeface="Arial" panose="020B0604020202020204" pitchFamily="34" charset="0"/>
              <a:buNone/>
              <a:defRPr sz="1400">
                <a:latin typeface="+mj-lt"/>
              </a:defRPr>
            </a:lvl1pPr>
            <a:lvl2pPr marL="398209" indent="-199105"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4C1E0CB-2B94-236B-400A-772130E747F6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8" name="Titolo 7">
            <a:extLst>
              <a:ext uri="{FF2B5EF4-FFF2-40B4-BE49-F238E27FC236}">
                <a16:creationId xmlns:a16="http://schemas.microsoft.com/office/drawing/2014/main" id="{D8D729D7-81E1-9BA9-AA78-0759FE2CA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232091" cy="362489"/>
          </a:xfrm>
        </p:spPr>
        <p:txBody>
          <a:bodyPr/>
          <a:lstStyle/>
          <a:p>
            <a:r>
              <a:rPr lang="en-US"/>
              <a:t>Mini </a:t>
            </a:r>
            <a:r>
              <a:rPr lang="en-US" dirty="0"/>
              <a:t>IVS machine and accessories – </a:t>
            </a:r>
            <a:r>
              <a:rPr lang="en-US"/>
              <a:t>suggested choice </a:t>
            </a:r>
            <a:r>
              <a:rPr lang="en-US" dirty="0"/>
              <a:t>I</a:t>
            </a:r>
          </a:p>
        </p:txBody>
      </p:sp>
      <p:pic>
        <p:nvPicPr>
          <p:cNvPr id="55" name="Picture 34">
            <a:extLst>
              <a:ext uri="{FF2B5EF4-FFF2-40B4-BE49-F238E27FC236}">
                <a16:creationId xmlns:a16="http://schemas.microsoft.com/office/drawing/2014/main" id="{47CE3BBF-71C3-6298-755A-519D4E0B6B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7" y="4281363"/>
            <a:ext cx="499091" cy="17562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56" name="Immagine 55">
            <a:extLst>
              <a:ext uri="{FF2B5EF4-FFF2-40B4-BE49-F238E27FC236}">
                <a16:creationId xmlns:a16="http://schemas.microsoft.com/office/drawing/2014/main" id="{FEADD549-21CF-E019-37DE-47ADEF2526E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154" y="2198297"/>
            <a:ext cx="264343" cy="214516"/>
          </a:xfrm>
          <a:prstGeom prst="rect">
            <a:avLst/>
          </a:prstGeom>
        </p:spPr>
      </p:pic>
      <p:sp>
        <p:nvSpPr>
          <p:cNvPr id="89" name="CasellaDiTesto 88">
            <a:extLst>
              <a:ext uri="{FF2B5EF4-FFF2-40B4-BE49-F238E27FC236}">
                <a16:creationId xmlns:a16="http://schemas.microsoft.com/office/drawing/2014/main" id="{1FCFAF5F-62BC-5D8E-1979-3DEAEE67FCC4}"/>
              </a:ext>
            </a:extLst>
          </p:cNvPr>
          <p:cNvSpPr txBox="1"/>
          <p:nvPr/>
        </p:nvSpPr>
        <p:spPr>
          <a:xfrm>
            <a:off x="2213459" y="4272886"/>
            <a:ext cx="127598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sz="800" b="1" dirty="0">
                <a:latin typeface="+mj-lt"/>
              </a:rPr>
              <a:t>VHS011 </a:t>
            </a:r>
            <a:r>
              <a:rPr lang="it-IT" sz="800" b="1">
                <a:latin typeface="+mj-lt"/>
              </a:rPr>
              <a:t>LC ACD</a:t>
            </a:r>
          </a:p>
          <a:p>
            <a:r>
              <a:rPr lang="it-IT" sz="800">
                <a:solidFill>
                  <a:schemeClr val="accent3"/>
                </a:solidFill>
              </a:rPr>
              <a:t>4010100120</a:t>
            </a:r>
          </a:p>
          <a:p>
            <a:pPr algn="l"/>
            <a:endParaRPr lang="it-IT" sz="800" b="1" dirty="0"/>
          </a:p>
        </p:txBody>
      </p:sp>
      <p:sp>
        <p:nvSpPr>
          <p:cNvPr id="90" name="CasellaDiTesto 89">
            <a:extLst>
              <a:ext uri="{FF2B5EF4-FFF2-40B4-BE49-F238E27FC236}">
                <a16:creationId xmlns:a16="http://schemas.microsoft.com/office/drawing/2014/main" id="{89CBC72B-B0C0-E3F7-7362-BF27AF33C53D}"/>
              </a:ext>
            </a:extLst>
          </p:cNvPr>
          <p:cNvSpPr txBox="1"/>
          <p:nvPr/>
        </p:nvSpPr>
        <p:spPr>
          <a:xfrm>
            <a:off x="2209362" y="2227424"/>
            <a:ext cx="14145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800" dirty="0">
                <a:latin typeface="+mj-lt"/>
              </a:rPr>
              <a:t>VHS011 </a:t>
            </a:r>
            <a:r>
              <a:rPr lang="it-IT" sz="800">
                <a:latin typeface="+mj-lt"/>
              </a:rPr>
              <a:t>LC Z22 EXA</a:t>
            </a:r>
          </a:p>
          <a:p>
            <a:r>
              <a:rPr lang="it-IT" sz="800">
                <a:solidFill>
                  <a:schemeClr val="accent3"/>
                </a:solidFill>
              </a:rPr>
              <a:t>4010100113</a:t>
            </a:r>
            <a:r>
              <a:rPr lang="it-IT" sz="800"/>
              <a:t> </a:t>
            </a:r>
          </a:p>
        </p:txBody>
      </p:sp>
      <p:sp>
        <p:nvSpPr>
          <p:cNvPr id="91" name="CasellaDiTesto 90">
            <a:extLst>
              <a:ext uri="{FF2B5EF4-FFF2-40B4-BE49-F238E27FC236}">
                <a16:creationId xmlns:a16="http://schemas.microsoft.com/office/drawing/2014/main" id="{CC867E91-A481-FFA9-D8E6-A20A4BC14DCC}"/>
              </a:ext>
            </a:extLst>
          </p:cNvPr>
          <p:cNvSpPr txBox="1"/>
          <p:nvPr/>
        </p:nvSpPr>
        <p:spPr>
          <a:xfrm>
            <a:off x="6060404" y="4272886"/>
            <a:ext cx="127598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sz="800" dirty="0">
                <a:latin typeface="+mj-lt"/>
              </a:rPr>
              <a:t>VHS010 MC </a:t>
            </a:r>
            <a:r>
              <a:rPr lang="it-IT" sz="800">
                <a:latin typeface="+mj-lt"/>
              </a:rPr>
              <a:t>Z22 EXA</a:t>
            </a:r>
          </a:p>
          <a:p>
            <a:r>
              <a:rPr lang="it-IT" sz="800">
                <a:solidFill>
                  <a:schemeClr val="accent3"/>
                </a:solidFill>
              </a:rPr>
              <a:t>TBD**</a:t>
            </a:r>
          </a:p>
          <a:p>
            <a:pPr algn="l"/>
            <a:endParaRPr lang="it-IT" sz="800" dirty="0"/>
          </a:p>
        </p:txBody>
      </p:sp>
      <p:sp>
        <p:nvSpPr>
          <p:cNvPr id="92" name="CasellaDiTesto 91">
            <a:extLst>
              <a:ext uri="{FF2B5EF4-FFF2-40B4-BE49-F238E27FC236}">
                <a16:creationId xmlns:a16="http://schemas.microsoft.com/office/drawing/2014/main" id="{4C11E56A-B423-84A9-2DA8-CD2AC125EC6A}"/>
              </a:ext>
            </a:extLst>
          </p:cNvPr>
          <p:cNvSpPr txBox="1"/>
          <p:nvPr/>
        </p:nvSpPr>
        <p:spPr>
          <a:xfrm>
            <a:off x="6064589" y="2227424"/>
            <a:ext cx="14145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sz="800" dirty="0">
                <a:latin typeface="+mj-lt"/>
              </a:rPr>
              <a:t>VHS011 LC </a:t>
            </a:r>
            <a:r>
              <a:rPr lang="it-IT" sz="800">
                <a:latin typeface="+mj-lt"/>
              </a:rPr>
              <a:t>Z22 EXA</a:t>
            </a:r>
          </a:p>
          <a:p>
            <a:r>
              <a:rPr lang="it-IT" sz="800">
                <a:solidFill>
                  <a:schemeClr val="accent3"/>
                </a:solidFill>
              </a:rPr>
              <a:t>4010100113</a:t>
            </a:r>
            <a:r>
              <a:rPr lang="it-IT" sz="800"/>
              <a:t> </a:t>
            </a:r>
            <a:endParaRPr lang="it-IT" sz="800" dirty="0"/>
          </a:p>
        </p:txBody>
      </p:sp>
      <p:sp>
        <p:nvSpPr>
          <p:cNvPr id="94" name="CasellaDiTesto 93">
            <a:extLst>
              <a:ext uri="{FF2B5EF4-FFF2-40B4-BE49-F238E27FC236}">
                <a16:creationId xmlns:a16="http://schemas.microsoft.com/office/drawing/2014/main" id="{EAEE0B6D-AD9D-10C1-E873-3DD5E6791946}"/>
              </a:ext>
            </a:extLst>
          </p:cNvPr>
          <p:cNvSpPr txBox="1"/>
          <p:nvPr/>
        </p:nvSpPr>
        <p:spPr>
          <a:xfrm>
            <a:off x="9972773" y="4272886"/>
            <a:ext cx="127598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800" b="1" dirty="0">
                <a:latin typeface="+mj-lt"/>
              </a:rPr>
              <a:t>VHS010 </a:t>
            </a:r>
            <a:r>
              <a:rPr lang="it-IT" sz="800" b="1">
                <a:latin typeface="+mj-lt"/>
              </a:rPr>
              <a:t>MC Z22 EXA</a:t>
            </a:r>
          </a:p>
          <a:p>
            <a:r>
              <a:rPr lang="it-IT" sz="800">
                <a:solidFill>
                  <a:schemeClr val="accent3"/>
                </a:solidFill>
              </a:rPr>
              <a:t>TBD** </a:t>
            </a:r>
            <a:endParaRPr lang="it-IT" sz="800" b="1" dirty="0">
              <a:solidFill>
                <a:schemeClr val="accent3"/>
              </a:solidFill>
            </a:endParaRPr>
          </a:p>
        </p:txBody>
      </p:sp>
      <p:sp>
        <p:nvSpPr>
          <p:cNvPr id="95" name="CasellaDiTesto 94">
            <a:extLst>
              <a:ext uri="{FF2B5EF4-FFF2-40B4-BE49-F238E27FC236}">
                <a16:creationId xmlns:a16="http://schemas.microsoft.com/office/drawing/2014/main" id="{5F78278A-0DD1-F600-44C6-E9771D4C449C}"/>
              </a:ext>
            </a:extLst>
          </p:cNvPr>
          <p:cNvSpPr txBox="1"/>
          <p:nvPr/>
        </p:nvSpPr>
        <p:spPr>
          <a:xfrm>
            <a:off x="10013723" y="2227424"/>
            <a:ext cx="14145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sz="800" dirty="0">
                <a:latin typeface="+mj-lt"/>
              </a:rPr>
              <a:t>VHS010 </a:t>
            </a:r>
            <a:r>
              <a:rPr lang="it-IT" sz="800">
                <a:latin typeface="+mj-lt"/>
              </a:rPr>
              <a:t>MC ACD</a:t>
            </a:r>
          </a:p>
          <a:p>
            <a:r>
              <a:rPr lang="it-IT" sz="800">
                <a:solidFill>
                  <a:schemeClr val="accent3"/>
                </a:solidFill>
              </a:rPr>
              <a:t>TBD** </a:t>
            </a:r>
            <a:endParaRPr lang="it-IT" sz="800" b="1" dirty="0">
              <a:solidFill>
                <a:schemeClr val="accent3"/>
              </a:solidFill>
            </a:endParaRPr>
          </a:p>
        </p:txBody>
      </p:sp>
      <p:sp>
        <p:nvSpPr>
          <p:cNvPr id="115" name="CasellaDiTesto 114">
            <a:extLst>
              <a:ext uri="{FF2B5EF4-FFF2-40B4-BE49-F238E27FC236}">
                <a16:creationId xmlns:a16="http://schemas.microsoft.com/office/drawing/2014/main" id="{88AD791B-DCC1-5DF3-E641-A637F3BEFE36}"/>
              </a:ext>
            </a:extLst>
          </p:cNvPr>
          <p:cNvSpPr txBox="1"/>
          <p:nvPr/>
        </p:nvSpPr>
        <p:spPr>
          <a:xfrm>
            <a:off x="1396847" y="3348398"/>
            <a:ext cx="183763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FDA Machine EXA</a:t>
            </a:r>
          </a:p>
          <a:p>
            <a:r>
              <a:rPr lang="it-IT" sz="700" b="0"/>
              <a:t>4072400822</a:t>
            </a:r>
          </a:p>
        </p:txBody>
      </p:sp>
      <p:sp>
        <p:nvSpPr>
          <p:cNvPr id="116" name="CasellaDiTesto 115">
            <a:extLst>
              <a:ext uri="{FF2B5EF4-FFF2-40B4-BE49-F238E27FC236}">
                <a16:creationId xmlns:a16="http://schemas.microsoft.com/office/drawing/2014/main" id="{BD5F590C-2052-5E6D-E117-AD68FC349069}"/>
              </a:ext>
            </a:extLst>
          </p:cNvPr>
          <p:cNvSpPr txBox="1"/>
          <p:nvPr/>
        </p:nvSpPr>
        <p:spPr>
          <a:xfrm>
            <a:off x="1410345" y="5381640"/>
            <a:ext cx="1806819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FDA Machine ACD</a:t>
            </a:r>
          </a:p>
          <a:p>
            <a:r>
              <a:rPr lang="it-IT" sz="700" b="0"/>
              <a:t>4072400826</a:t>
            </a:r>
          </a:p>
        </p:txBody>
      </p:sp>
      <p:sp>
        <p:nvSpPr>
          <p:cNvPr id="117" name="CasellaDiTesto 116">
            <a:extLst>
              <a:ext uri="{FF2B5EF4-FFF2-40B4-BE49-F238E27FC236}">
                <a16:creationId xmlns:a16="http://schemas.microsoft.com/office/drawing/2014/main" id="{8D79FE71-9364-46C7-432D-18FACBBD65DC}"/>
              </a:ext>
            </a:extLst>
          </p:cNvPr>
          <p:cNvSpPr txBox="1"/>
          <p:nvPr/>
        </p:nvSpPr>
        <p:spPr>
          <a:xfrm>
            <a:off x="5211584" y="5381640"/>
            <a:ext cx="1631584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Machine EXA</a:t>
            </a:r>
          </a:p>
          <a:p>
            <a:r>
              <a:rPr lang="it-IT" sz="700" b="0"/>
              <a:t>4072400823</a:t>
            </a:r>
          </a:p>
        </p:txBody>
      </p:sp>
      <p:sp>
        <p:nvSpPr>
          <p:cNvPr id="118" name="CasellaDiTesto 117">
            <a:extLst>
              <a:ext uri="{FF2B5EF4-FFF2-40B4-BE49-F238E27FC236}">
                <a16:creationId xmlns:a16="http://schemas.microsoft.com/office/drawing/2014/main" id="{7BEEC7E4-D129-44B4-3A87-A4483232CADE}"/>
              </a:ext>
            </a:extLst>
          </p:cNvPr>
          <p:cNvSpPr txBox="1"/>
          <p:nvPr/>
        </p:nvSpPr>
        <p:spPr>
          <a:xfrm>
            <a:off x="5220952" y="3368587"/>
            <a:ext cx="1631584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Machine EXA</a:t>
            </a:r>
          </a:p>
          <a:p>
            <a:r>
              <a:rPr lang="it-IT" sz="700" b="0"/>
              <a:t>4072400823</a:t>
            </a:r>
          </a:p>
        </p:txBody>
      </p:sp>
      <p:sp>
        <p:nvSpPr>
          <p:cNvPr id="119" name="CasellaDiTesto 118">
            <a:extLst>
              <a:ext uri="{FF2B5EF4-FFF2-40B4-BE49-F238E27FC236}">
                <a16:creationId xmlns:a16="http://schemas.microsoft.com/office/drawing/2014/main" id="{2FB0EBC3-C6F1-D1A8-B5D3-C9E8CCD9766D}"/>
              </a:ext>
            </a:extLst>
          </p:cNvPr>
          <p:cNvSpPr txBox="1"/>
          <p:nvPr/>
        </p:nvSpPr>
        <p:spPr>
          <a:xfrm>
            <a:off x="9485510" y="3368587"/>
            <a:ext cx="153098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General ACD</a:t>
            </a:r>
          </a:p>
          <a:p>
            <a:r>
              <a:rPr lang="it-IT" sz="700" b="0"/>
              <a:t>4072400774</a:t>
            </a:r>
            <a:endParaRPr lang="it-IT" sz="700" b="0" dirty="0"/>
          </a:p>
        </p:txBody>
      </p:sp>
      <p:sp>
        <p:nvSpPr>
          <p:cNvPr id="120" name="CasellaDiTesto 119">
            <a:extLst>
              <a:ext uri="{FF2B5EF4-FFF2-40B4-BE49-F238E27FC236}">
                <a16:creationId xmlns:a16="http://schemas.microsoft.com/office/drawing/2014/main" id="{F9AAAEE8-4B29-3A42-A6FA-15F88300140C}"/>
              </a:ext>
            </a:extLst>
          </p:cNvPr>
          <p:cNvSpPr txBox="1"/>
          <p:nvPr/>
        </p:nvSpPr>
        <p:spPr>
          <a:xfrm>
            <a:off x="9495745" y="5381640"/>
            <a:ext cx="165173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General EXA</a:t>
            </a:r>
          </a:p>
          <a:p>
            <a:r>
              <a:rPr lang="it-IT" sz="700" b="0"/>
              <a:t>4072400773</a:t>
            </a:r>
            <a:endParaRPr lang="it-IT" sz="700" b="0" dirty="0"/>
          </a:p>
        </p:txBody>
      </p:sp>
      <p:pic>
        <p:nvPicPr>
          <p:cNvPr id="106" name="Immagine 105">
            <a:extLst>
              <a:ext uri="{FF2B5EF4-FFF2-40B4-BE49-F238E27FC236}">
                <a16:creationId xmlns:a16="http://schemas.microsoft.com/office/drawing/2014/main" id="{49BE3C68-C26F-B24B-6B83-59F5B77C35A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331" y="2499417"/>
            <a:ext cx="487175" cy="190443"/>
          </a:xfrm>
          <a:prstGeom prst="rect">
            <a:avLst/>
          </a:prstGeom>
        </p:spPr>
      </p:pic>
      <p:sp>
        <p:nvSpPr>
          <p:cNvPr id="108" name="CasellaDiTesto 107">
            <a:extLst>
              <a:ext uri="{FF2B5EF4-FFF2-40B4-BE49-F238E27FC236}">
                <a16:creationId xmlns:a16="http://schemas.microsoft.com/office/drawing/2014/main" id="{A6E38FB1-5F44-E83E-AAD8-E3DF3E0E7EFA}"/>
              </a:ext>
            </a:extLst>
          </p:cNvPr>
          <p:cNvSpPr txBox="1"/>
          <p:nvPr/>
        </p:nvSpPr>
        <p:spPr>
          <a:xfrm>
            <a:off x="2118601" y="4528020"/>
            <a:ext cx="16137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 b="1">
                <a:latin typeface="+mj-lt"/>
              </a:defRPr>
            </a:lvl1pPr>
          </a:lstStyle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b="0">
                <a:latin typeface="+mn-lt"/>
              </a:rPr>
              <a:t>Hygienic </a:t>
            </a:r>
            <a:r>
              <a:rPr lang="en-US" sz="800" b="0" dirty="0">
                <a:latin typeface="+mn-lt"/>
              </a:rPr>
              <a:t>container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b="0">
                <a:latin typeface="+mn-lt"/>
              </a:rPr>
              <a:t>Without </a:t>
            </a:r>
            <a:r>
              <a:rPr lang="en-US" sz="800" b="0" dirty="0">
                <a:latin typeface="+mn-lt"/>
              </a:rPr>
              <a:t>consumable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b="0" dirty="0">
                <a:latin typeface="+mn-lt"/>
              </a:rPr>
              <a:t>FDA end tools and hoses </a:t>
            </a:r>
          </a:p>
        </p:txBody>
      </p:sp>
      <p:sp>
        <p:nvSpPr>
          <p:cNvPr id="109" name="CasellaDiTesto 108">
            <a:extLst>
              <a:ext uri="{FF2B5EF4-FFF2-40B4-BE49-F238E27FC236}">
                <a16:creationId xmlns:a16="http://schemas.microsoft.com/office/drawing/2014/main" id="{EB5C1652-9474-E39F-CCE4-CE13F70F8396}"/>
              </a:ext>
            </a:extLst>
          </p:cNvPr>
          <p:cNvSpPr txBox="1"/>
          <p:nvPr/>
        </p:nvSpPr>
        <p:spPr>
          <a:xfrm>
            <a:off x="2110745" y="2502586"/>
            <a:ext cx="16729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dirty="0"/>
              <a:t>Hygienic container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dirty="0"/>
              <a:t>Without consumabl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dirty="0"/>
              <a:t>FDA end tools and hoses </a:t>
            </a:r>
          </a:p>
        </p:txBody>
      </p:sp>
      <p:sp>
        <p:nvSpPr>
          <p:cNvPr id="110" name="CasellaDiTesto 109">
            <a:extLst>
              <a:ext uri="{FF2B5EF4-FFF2-40B4-BE49-F238E27FC236}">
                <a16:creationId xmlns:a16="http://schemas.microsoft.com/office/drawing/2014/main" id="{31808E27-3884-733B-B6AA-2A4EE002D9D4}"/>
              </a:ext>
            </a:extLst>
          </p:cNvPr>
          <p:cNvSpPr txBox="1"/>
          <p:nvPr/>
        </p:nvSpPr>
        <p:spPr>
          <a:xfrm>
            <a:off x="5993866" y="4528020"/>
            <a:ext cx="20054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 b="0"/>
            </a:lvl1pPr>
          </a:lstStyle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Safe </a:t>
            </a:r>
            <a:r>
              <a:rPr lang="en-US" sz="800" dirty="0"/>
              <a:t>dispos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dirty="0"/>
              <a:t>Not contaminating env.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Safe </a:t>
            </a:r>
            <a:r>
              <a:rPr lang="en-US" sz="800" dirty="0"/>
              <a:t>with conductive materials</a:t>
            </a:r>
          </a:p>
        </p:txBody>
      </p:sp>
      <p:sp>
        <p:nvSpPr>
          <p:cNvPr id="111" name="CasellaDiTesto 110">
            <a:extLst>
              <a:ext uri="{FF2B5EF4-FFF2-40B4-BE49-F238E27FC236}">
                <a16:creationId xmlns:a16="http://schemas.microsoft.com/office/drawing/2014/main" id="{AFF3087D-58DC-BE4B-2795-377AFA9DB197}"/>
              </a:ext>
            </a:extLst>
          </p:cNvPr>
          <p:cNvSpPr txBox="1"/>
          <p:nvPr/>
        </p:nvSpPr>
        <p:spPr>
          <a:xfrm>
            <a:off x="5983656" y="2502586"/>
            <a:ext cx="19818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Hygienic </a:t>
            </a:r>
            <a:r>
              <a:rPr lang="en-US" sz="800" dirty="0"/>
              <a:t>container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Not </a:t>
            </a:r>
            <a:r>
              <a:rPr lang="en-US" sz="800" dirty="0"/>
              <a:t>contaminating env.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dirty="0"/>
              <a:t>safe with conductive dusts</a:t>
            </a:r>
          </a:p>
        </p:txBody>
      </p:sp>
      <p:sp>
        <p:nvSpPr>
          <p:cNvPr id="112" name="CasellaDiTesto 111">
            <a:extLst>
              <a:ext uri="{FF2B5EF4-FFF2-40B4-BE49-F238E27FC236}">
                <a16:creationId xmlns:a16="http://schemas.microsoft.com/office/drawing/2014/main" id="{745A131C-7446-9112-D4EB-7122D6E68F35}"/>
              </a:ext>
            </a:extLst>
          </p:cNvPr>
          <p:cNvSpPr txBox="1"/>
          <p:nvPr/>
        </p:nvSpPr>
        <p:spPr>
          <a:xfrm>
            <a:off x="9877065" y="4528020"/>
            <a:ext cx="137169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 b="0"/>
            </a:lvl1pPr>
          </a:lstStyle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Affordable </a:t>
            </a:r>
            <a:r>
              <a:rPr lang="en-US" sz="800" dirty="0"/>
              <a:t>safe disposal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Light </a:t>
            </a:r>
            <a:r>
              <a:rPr lang="en-US" sz="800" dirty="0"/>
              <a:t>weight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Multipurpose </a:t>
            </a:r>
            <a:r>
              <a:rPr lang="en-US" sz="800" dirty="0"/>
              <a:t>premium Z22 IVAC</a:t>
            </a:r>
          </a:p>
        </p:txBody>
      </p:sp>
      <p:sp>
        <p:nvSpPr>
          <p:cNvPr id="113" name="CasellaDiTesto 112">
            <a:extLst>
              <a:ext uri="{FF2B5EF4-FFF2-40B4-BE49-F238E27FC236}">
                <a16:creationId xmlns:a16="http://schemas.microsoft.com/office/drawing/2014/main" id="{6F1B662A-0EDC-314F-C908-3BAEF2F7CE11}"/>
              </a:ext>
            </a:extLst>
          </p:cNvPr>
          <p:cNvSpPr txBox="1"/>
          <p:nvPr/>
        </p:nvSpPr>
        <p:spPr>
          <a:xfrm>
            <a:off x="9890078" y="2502586"/>
            <a:ext cx="182143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Affordable </a:t>
            </a:r>
            <a:r>
              <a:rPr lang="en-US" sz="800" dirty="0"/>
              <a:t>safe disposal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Light </a:t>
            </a:r>
            <a:r>
              <a:rPr lang="en-US" sz="800" dirty="0"/>
              <a:t>weight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Multipurpose premium IVAC</a:t>
            </a:r>
            <a:endParaRPr lang="en-US" sz="800" dirty="0"/>
          </a:p>
        </p:txBody>
      </p:sp>
      <p:pic>
        <p:nvPicPr>
          <p:cNvPr id="114" name="Immagine 113">
            <a:extLst>
              <a:ext uri="{FF2B5EF4-FFF2-40B4-BE49-F238E27FC236}">
                <a16:creationId xmlns:a16="http://schemas.microsoft.com/office/drawing/2014/main" id="{34907CA1-6CAC-EC14-C24F-EBCE8A26393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3378" y="4613933"/>
            <a:ext cx="541116" cy="155564"/>
          </a:xfrm>
          <a:prstGeom prst="rect">
            <a:avLst/>
          </a:prstGeom>
        </p:spPr>
      </p:pic>
      <p:pic>
        <p:nvPicPr>
          <p:cNvPr id="121" name="Immagine 120">
            <a:extLst>
              <a:ext uri="{FF2B5EF4-FFF2-40B4-BE49-F238E27FC236}">
                <a16:creationId xmlns:a16="http://schemas.microsoft.com/office/drawing/2014/main" id="{A4F94A7D-0055-358F-48AE-D1F85AA6538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0349" y="2523091"/>
            <a:ext cx="487175" cy="181205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6B06151-C554-9008-B8EB-0A7635E2F468}"/>
              </a:ext>
            </a:extLst>
          </p:cNvPr>
          <p:cNvGrpSpPr/>
          <p:nvPr/>
        </p:nvGrpSpPr>
        <p:grpSpPr>
          <a:xfrm>
            <a:off x="8373715" y="4605126"/>
            <a:ext cx="541116" cy="332741"/>
            <a:chOff x="8867109" y="3860265"/>
            <a:chExt cx="541116" cy="332741"/>
          </a:xfrm>
        </p:grpSpPr>
        <p:pic>
          <p:nvPicPr>
            <p:cNvPr id="122" name="Immagine 121">
              <a:extLst>
                <a:ext uri="{FF2B5EF4-FFF2-40B4-BE49-F238E27FC236}">
                  <a16:creationId xmlns:a16="http://schemas.microsoft.com/office/drawing/2014/main" id="{474A9C26-180C-3A99-6F97-7F1ABBE4D07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67109" y="4037442"/>
              <a:ext cx="541116" cy="155564"/>
            </a:xfrm>
            <a:prstGeom prst="rect">
              <a:avLst/>
            </a:prstGeom>
          </p:spPr>
        </p:pic>
        <p:pic>
          <p:nvPicPr>
            <p:cNvPr id="125" name="Immagine 124">
              <a:extLst>
                <a:ext uri="{FF2B5EF4-FFF2-40B4-BE49-F238E27FC236}">
                  <a16:creationId xmlns:a16="http://schemas.microsoft.com/office/drawing/2014/main" id="{3EFD497E-9616-37C5-7A4B-B750E1D397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75081" y="3860265"/>
              <a:ext cx="520641" cy="149677"/>
            </a:xfrm>
            <a:prstGeom prst="rect">
              <a:avLst/>
            </a:prstGeom>
          </p:spPr>
        </p:pic>
      </p:grpSp>
      <p:pic>
        <p:nvPicPr>
          <p:cNvPr id="83" name="Picture 34">
            <a:extLst>
              <a:ext uri="{FF2B5EF4-FFF2-40B4-BE49-F238E27FC236}">
                <a16:creationId xmlns:a16="http://schemas.microsoft.com/office/drawing/2014/main" id="{41104CCD-BB93-F241-EE73-B44809B52D7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5505" y="2227957"/>
            <a:ext cx="510201" cy="17953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24" name="Immagine 123">
            <a:extLst>
              <a:ext uri="{FF2B5EF4-FFF2-40B4-BE49-F238E27FC236}">
                <a16:creationId xmlns:a16="http://schemas.microsoft.com/office/drawing/2014/main" id="{D1B8256E-D632-F9E3-24D8-7B13D950DFEA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876" y="2674780"/>
            <a:ext cx="495422" cy="142428"/>
          </a:xfrm>
          <a:prstGeom prst="rect">
            <a:avLst/>
          </a:prstGeom>
        </p:spPr>
      </p:pic>
      <p:pic>
        <p:nvPicPr>
          <p:cNvPr id="126" name="Immagine 125">
            <a:extLst>
              <a:ext uri="{FF2B5EF4-FFF2-40B4-BE49-F238E27FC236}">
                <a16:creationId xmlns:a16="http://schemas.microsoft.com/office/drawing/2014/main" id="{2FE9F315-35D3-5468-133F-E3F89F6933BF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876" y="2443729"/>
            <a:ext cx="492205" cy="188702"/>
          </a:xfrm>
          <a:prstGeom prst="rect">
            <a:avLst/>
          </a:prstGeom>
        </p:spPr>
      </p:pic>
      <p:sp>
        <p:nvSpPr>
          <p:cNvPr id="136" name="CasellaDiTesto 135">
            <a:extLst>
              <a:ext uri="{FF2B5EF4-FFF2-40B4-BE49-F238E27FC236}">
                <a16:creationId xmlns:a16="http://schemas.microsoft.com/office/drawing/2014/main" id="{AE0C7CD3-20DC-1CBF-72DE-475B07FAEC49}"/>
              </a:ext>
            </a:extLst>
          </p:cNvPr>
          <p:cNvSpPr txBox="1"/>
          <p:nvPr/>
        </p:nvSpPr>
        <p:spPr>
          <a:xfrm>
            <a:off x="8165830" y="5733723"/>
            <a:ext cx="3371295" cy="304868"/>
          </a:xfrm>
          <a:prstGeom prst="rect">
            <a:avLst/>
          </a:prstGeom>
          <a:noFill/>
        </p:spPr>
        <p:txBody>
          <a:bodyPr wrap="square" lIns="90000" tIns="90000" rIns="90000" bIns="90000">
            <a:spAutoFit/>
          </a:bodyPr>
          <a:lstStyle/>
          <a:p>
            <a:r>
              <a:rPr lang="en-US" sz="800"/>
              <a:t>*wood, painting and many others</a:t>
            </a:r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53B34AFF-B9E6-A556-8E33-C6824EDBF034}"/>
              </a:ext>
            </a:extLst>
          </p:cNvPr>
          <p:cNvSpPr txBox="1"/>
          <p:nvPr/>
        </p:nvSpPr>
        <p:spPr>
          <a:xfrm>
            <a:off x="4258601" y="5733723"/>
            <a:ext cx="1275988" cy="304868"/>
          </a:xfrm>
          <a:prstGeom prst="rect">
            <a:avLst/>
          </a:prstGeom>
          <a:noFill/>
        </p:spPr>
        <p:txBody>
          <a:bodyPr wrap="square" lIns="90000" tIns="90000" rIns="90000" bIns="90000" rtlCol="0">
            <a:spAutoFit/>
          </a:bodyPr>
          <a:lstStyle/>
          <a:p>
            <a:pPr algn="l"/>
            <a:r>
              <a:rPr lang="it-IT" sz="800" dirty="0"/>
              <a:t>**From 09/2024</a:t>
            </a:r>
          </a:p>
        </p:txBody>
      </p:sp>
      <p:grpSp>
        <p:nvGrpSpPr>
          <p:cNvPr id="159" name="Gruppo 158">
            <a:extLst>
              <a:ext uri="{FF2B5EF4-FFF2-40B4-BE49-F238E27FC236}">
                <a16:creationId xmlns:a16="http://schemas.microsoft.com/office/drawing/2014/main" id="{3F7E68CE-89C0-D1DB-D6B9-B43B5EACD532}"/>
              </a:ext>
            </a:extLst>
          </p:cNvPr>
          <p:cNvGrpSpPr/>
          <p:nvPr/>
        </p:nvGrpSpPr>
        <p:grpSpPr>
          <a:xfrm>
            <a:off x="681957" y="3107145"/>
            <a:ext cx="578685" cy="587416"/>
            <a:chOff x="2920156" y="2588375"/>
            <a:chExt cx="917738" cy="931584"/>
          </a:xfrm>
        </p:grpSpPr>
        <p:grpSp>
          <p:nvGrpSpPr>
            <p:cNvPr id="142" name="Gruppo 141">
              <a:extLst>
                <a:ext uri="{FF2B5EF4-FFF2-40B4-BE49-F238E27FC236}">
                  <a16:creationId xmlns:a16="http://schemas.microsoft.com/office/drawing/2014/main" id="{C695AB12-4241-546A-DFFC-C213B7C26D55}"/>
                </a:ext>
              </a:extLst>
            </p:cNvPr>
            <p:cNvGrpSpPr/>
            <p:nvPr/>
          </p:nvGrpSpPr>
          <p:grpSpPr>
            <a:xfrm>
              <a:off x="2920156" y="2588375"/>
              <a:ext cx="917738" cy="931584"/>
              <a:chOff x="5060576" y="2644756"/>
              <a:chExt cx="1538824" cy="1583794"/>
            </a:xfrm>
          </p:grpSpPr>
          <p:pic>
            <p:nvPicPr>
              <p:cNvPr id="143" name="Immagine 142">
                <a:extLst>
                  <a:ext uri="{FF2B5EF4-FFF2-40B4-BE49-F238E27FC236}">
                    <a16:creationId xmlns:a16="http://schemas.microsoft.com/office/drawing/2014/main" id="{8FF0C081-9D8B-615C-1459-264B0A7080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8546698">
                <a:off x="5698319" y="2749899"/>
                <a:ext cx="688865" cy="478580"/>
              </a:xfrm>
              <a:prstGeom prst="rect">
                <a:avLst/>
              </a:prstGeom>
            </p:spPr>
          </p:pic>
          <p:grpSp>
            <p:nvGrpSpPr>
              <p:cNvPr id="146" name="Gruppo 145">
                <a:extLst>
                  <a:ext uri="{FF2B5EF4-FFF2-40B4-BE49-F238E27FC236}">
                    <a16:creationId xmlns:a16="http://schemas.microsoft.com/office/drawing/2014/main" id="{95EE16EB-14E9-5E1F-7DF6-71BEF34FCDEC}"/>
                  </a:ext>
                </a:extLst>
              </p:cNvPr>
              <p:cNvGrpSpPr/>
              <p:nvPr/>
            </p:nvGrpSpPr>
            <p:grpSpPr>
              <a:xfrm>
                <a:off x="5124572" y="3154220"/>
                <a:ext cx="1474828" cy="1074330"/>
                <a:chOff x="5229147" y="3268792"/>
                <a:chExt cx="901561" cy="656737"/>
              </a:xfrm>
            </p:grpSpPr>
            <p:grpSp>
              <p:nvGrpSpPr>
                <p:cNvPr id="152" name="Gruppo 151">
                  <a:extLst>
                    <a:ext uri="{FF2B5EF4-FFF2-40B4-BE49-F238E27FC236}">
                      <a16:creationId xmlns:a16="http://schemas.microsoft.com/office/drawing/2014/main" id="{DEB7F2E0-8FA8-D30F-6801-6401ED59BB0A}"/>
                    </a:ext>
                  </a:extLst>
                </p:cNvPr>
                <p:cNvGrpSpPr/>
                <p:nvPr/>
              </p:nvGrpSpPr>
              <p:grpSpPr>
                <a:xfrm>
                  <a:off x="5320899" y="3371790"/>
                  <a:ext cx="809809" cy="553739"/>
                  <a:chOff x="11994" y="205378"/>
                  <a:chExt cx="686834" cy="461711"/>
                </a:xfrm>
              </p:grpSpPr>
              <p:pic>
                <p:nvPicPr>
                  <p:cNvPr id="154" name="Immagine 153">
                    <a:extLst>
                      <a:ext uri="{FF2B5EF4-FFF2-40B4-BE49-F238E27FC236}">
                        <a16:creationId xmlns:a16="http://schemas.microsoft.com/office/drawing/2014/main" id="{26B21140-F6C8-B911-55D6-AEFDE686D4F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40384" y="205378"/>
                    <a:ext cx="458444" cy="445707"/>
                  </a:xfrm>
                  <a:prstGeom prst="rect">
                    <a:avLst/>
                  </a:prstGeom>
                </p:spPr>
              </p:pic>
              <p:pic>
                <p:nvPicPr>
                  <p:cNvPr id="155" name="Immagine 154">
                    <a:extLst>
                      <a:ext uri="{FF2B5EF4-FFF2-40B4-BE49-F238E27FC236}">
                        <a16:creationId xmlns:a16="http://schemas.microsoft.com/office/drawing/2014/main" id="{D6000AC3-DBCD-0B44-CEBC-643282004DC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1994" y="555401"/>
                    <a:ext cx="267311" cy="11168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153" name="Immagine 152">
                  <a:extLst>
                    <a:ext uri="{FF2B5EF4-FFF2-40B4-BE49-F238E27FC236}">
                      <a16:creationId xmlns:a16="http://schemas.microsoft.com/office/drawing/2014/main" id="{71FDBFBF-1D65-AF0A-6E44-1813F19F70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20790483" flipH="1">
                  <a:off x="5229147" y="3268792"/>
                  <a:ext cx="372535" cy="313243"/>
                </a:xfrm>
                <a:prstGeom prst="rect">
                  <a:avLst/>
                </a:prstGeom>
              </p:spPr>
            </p:pic>
          </p:grpSp>
          <p:pic>
            <p:nvPicPr>
              <p:cNvPr id="145" name="Immagine 144">
                <a:extLst>
                  <a:ext uri="{FF2B5EF4-FFF2-40B4-BE49-F238E27FC236}">
                    <a16:creationId xmlns:a16="http://schemas.microsoft.com/office/drawing/2014/main" id="{5FC65103-EACF-6769-6EB2-E894C0842C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131801" flipH="1">
                <a:off x="5060576" y="3215018"/>
                <a:ext cx="703888" cy="383684"/>
              </a:xfrm>
              <a:prstGeom prst="rect">
                <a:avLst/>
              </a:prstGeom>
            </p:spPr>
          </p:pic>
        </p:grpSp>
        <p:pic>
          <p:nvPicPr>
            <p:cNvPr id="158" name="Immagine 157">
              <a:extLst>
                <a:ext uri="{FF2B5EF4-FFF2-40B4-BE49-F238E27FC236}">
                  <a16:creationId xmlns:a16="http://schemas.microsoft.com/office/drawing/2014/main" id="{BC4830CF-82EA-938C-8CE2-E09B79DFFC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452222">
              <a:off x="3436350" y="2826242"/>
              <a:ext cx="317194" cy="173603"/>
            </a:xfrm>
            <a:prstGeom prst="rect">
              <a:avLst/>
            </a:prstGeom>
          </p:spPr>
        </p:pic>
      </p:grpSp>
      <p:grpSp>
        <p:nvGrpSpPr>
          <p:cNvPr id="160" name="Gruppo 159">
            <a:extLst>
              <a:ext uri="{FF2B5EF4-FFF2-40B4-BE49-F238E27FC236}">
                <a16:creationId xmlns:a16="http://schemas.microsoft.com/office/drawing/2014/main" id="{D16D56DB-2F4D-4C83-32EA-65772B3BF7CA}"/>
              </a:ext>
            </a:extLst>
          </p:cNvPr>
          <p:cNvGrpSpPr/>
          <p:nvPr/>
        </p:nvGrpSpPr>
        <p:grpSpPr>
          <a:xfrm>
            <a:off x="8337825" y="3248529"/>
            <a:ext cx="944745" cy="438114"/>
            <a:chOff x="4256822" y="2557511"/>
            <a:chExt cx="2929466" cy="1358504"/>
          </a:xfrm>
        </p:grpSpPr>
        <p:pic>
          <p:nvPicPr>
            <p:cNvPr id="161" name="Immagine 160">
              <a:extLst>
                <a:ext uri="{FF2B5EF4-FFF2-40B4-BE49-F238E27FC236}">
                  <a16:creationId xmlns:a16="http://schemas.microsoft.com/office/drawing/2014/main" id="{9F3DC831-8765-2EFD-3BD7-10F5310D03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96666" y="2557511"/>
              <a:ext cx="1581276" cy="1169792"/>
            </a:xfrm>
            <a:prstGeom prst="rect">
              <a:avLst/>
            </a:prstGeom>
          </p:spPr>
        </p:pic>
        <p:grpSp>
          <p:nvGrpSpPr>
            <p:cNvPr id="162" name="Gruppo 161">
              <a:extLst>
                <a:ext uri="{FF2B5EF4-FFF2-40B4-BE49-F238E27FC236}">
                  <a16:creationId xmlns:a16="http://schemas.microsoft.com/office/drawing/2014/main" id="{AD112419-49E0-202A-0242-095F30363257}"/>
                </a:ext>
              </a:extLst>
            </p:cNvPr>
            <p:cNvGrpSpPr/>
            <p:nvPr/>
          </p:nvGrpSpPr>
          <p:grpSpPr>
            <a:xfrm>
              <a:off x="4256822" y="2656588"/>
              <a:ext cx="2929466" cy="1259427"/>
              <a:chOff x="4256822" y="2656588"/>
              <a:chExt cx="2929466" cy="1259427"/>
            </a:xfrm>
          </p:grpSpPr>
          <p:grpSp>
            <p:nvGrpSpPr>
              <p:cNvPr id="165" name="Gruppo 164">
                <a:extLst>
                  <a:ext uri="{FF2B5EF4-FFF2-40B4-BE49-F238E27FC236}">
                    <a16:creationId xmlns:a16="http://schemas.microsoft.com/office/drawing/2014/main" id="{A8CF8FAA-48A4-9F92-E2F1-2B4D8FD60348}"/>
                  </a:ext>
                </a:extLst>
              </p:cNvPr>
              <p:cNvGrpSpPr/>
              <p:nvPr/>
            </p:nvGrpSpPr>
            <p:grpSpPr>
              <a:xfrm>
                <a:off x="4256822" y="2656588"/>
                <a:ext cx="2061318" cy="1259427"/>
                <a:chOff x="4844828" y="2973236"/>
                <a:chExt cx="999821" cy="610872"/>
              </a:xfrm>
            </p:grpSpPr>
            <p:grpSp>
              <p:nvGrpSpPr>
                <p:cNvPr id="173" name="Gruppo 172">
                  <a:extLst>
                    <a:ext uri="{FF2B5EF4-FFF2-40B4-BE49-F238E27FC236}">
                      <a16:creationId xmlns:a16="http://schemas.microsoft.com/office/drawing/2014/main" id="{F1B48C7C-8D6F-0C35-47F3-DA01E655E79A}"/>
                    </a:ext>
                  </a:extLst>
                </p:cNvPr>
                <p:cNvGrpSpPr/>
                <p:nvPr/>
              </p:nvGrpSpPr>
              <p:grpSpPr>
                <a:xfrm>
                  <a:off x="4844828" y="2973236"/>
                  <a:ext cx="799196" cy="610872"/>
                  <a:chOff x="4548304" y="3177721"/>
                  <a:chExt cx="799196" cy="610872"/>
                </a:xfrm>
              </p:grpSpPr>
              <p:grpSp>
                <p:nvGrpSpPr>
                  <p:cNvPr id="175" name="Gruppo 174">
                    <a:extLst>
                      <a:ext uri="{FF2B5EF4-FFF2-40B4-BE49-F238E27FC236}">
                        <a16:creationId xmlns:a16="http://schemas.microsoft.com/office/drawing/2014/main" id="{866BFD15-1E46-E014-E683-07CF5C086BDB}"/>
                      </a:ext>
                    </a:extLst>
                  </p:cNvPr>
                  <p:cNvGrpSpPr/>
                  <p:nvPr/>
                </p:nvGrpSpPr>
                <p:grpSpPr>
                  <a:xfrm>
                    <a:off x="4548304" y="3177721"/>
                    <a:ext cx="799196" cy="610872"/>
                    <a:chOff x="4548304" y="3177721"/>
                    <a:chExt cx="799196" cy="610872"/>
                  </a:xfrm>
                </p:grpSpPr>
                <p:pic>
                  <p:nvPicPr>
                    <p:cNvPr id="177" name="Immagine 176">
                      <a:extLst>
                        <a:ext uri="{FF2B5EF4-FFF2-40B4-BE49-F238E27FC236}">
                          <a16:creationId xmlns:a16="http://schemas.microsoft.com/office/drawing/2014/main" id="{2D153724-15B4-3488-092E-A0478D045516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8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17046960" flipH="1" flipV="1">
                      <a:off x="4782016" y="3158489"/>
                      <a:ext cx="250021" cy="288486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8" name="Immagine 177">
                      <a:extLst>
                        <a:ext uri="{FF2B5EF4-FFF2-40B4-BE49-F238E27FC236}">
                          <a16:creationId xmlns:a16="http://schemas.microsoft.com/office/drawing/2014/main" id="{E71303F7-B034-55AB-FD7D-D2F5DE53F04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9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rot="2700000">
                      <a:off x="4612223" y="3384894"/>
                      <a:ext cx="77236" cy="205074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179" name="Immagine 178">
                      <a:extLst>
                        <a:ext uri="{FF2B5EF4-FFF2-40B4-BE49-F238E27FC236}">
                          <a16:creationId xmlns:a16="http://schemas.microsoft.com/office/drawing/2014/main" id="{A659EFEE-2952-79AD-5F01-9A527554F88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0" cstate="email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12422" y="3400369"/>
                      <a:ext cx="435078" cy="388224"/>
                    </a:xfrm>
                    <a:prstGeom prst="rect">
                      <a:avLst/>
                    </a:prstGeom>
                  </p:spPr>
                </p:pic>
              </p:grpSp>
              <p:pic>
                <p:nvPicPr>
                  <p:cNvPr id="176" name="Immagine 175">
                    <a:extLst>
                      <a:ext uri="{FF2B5EF4-FFF2-40B4-BE49-F238E27FC236}">
                        <a16:creationId xmlns:a16="http://schemas.microsoft.com/office/drawing/2014/main" id="{BB737B5D-67BD-204C-2C2E-9C08171DF52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561506" y="3658084"/>
                    <a:ext cx="259182" cy="90529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174" name="Immagine 173">
                  <a:extLst>
                    <a:ext uri="{FF2B5EF4-FFF2-40B4-BE49-F238E27FC236}">
                      <a16:creationId xmlns:a16="http://schemas.microsoft.com/office/drawing/2014/main" id="{9C4B0C21-D029-1917-40B3-6DF0E382B4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01964" y="3402915"/>
                  <a:ext cx="142685" cy="122427"/>
                </a:xfrm>
                <a:prstGeom prst="rect">
                  <a:avLst/>
                </a:prstGeom>
              </p:spPr>
            </p:pic>
          </p:grpSp>
          <p:pic>
            <p:nvPicPr>
              <p:cNvPr id="164" name="Immagine 163">
                <a:extLst>
                  <a:ext uri="{FF2B5EF4-FFF2-40B4-BE49-F238E27FC236}">
                    <a16:creationId xmlns:a16="http://schemas.microsoft.com/office/drawing/2014/main" id="{1727A403-D38E-5430-9C6C-5A017ABC72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55073" y="3099310"/>
                <a:ext cx="531215" cy="365925"/>
              </a:xfrm>
              <a:prstGeom prst="rect">
                <a:avLst/>
              </a:prstGeom>
            </p:spPr>
          </p:pic>
        </p:grpSp>
      </p:grpSp>
      <p:pic>
        <p:nvPicPr>
          <p:cNvPr id="11" name="Immagine 105">
            <a:extLst>
              <a:ext uri="{FF2B5EF4-FFF2-40B4-BE49-F238E27FC236}">
                <a16:creationId xmlns:a16="http://schemas.microsoft.com/office/drawing/2014/main" id="{3045250D-A5B9-C578-722B-3A45E4D4D0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51" y="4503913"/>
            <a:ext cx="487175" cy="190443"/>
          </a:xfrm>
          <a:prstGeom prst="rect">
            <a:avLst/>
          </a:prstGeom>
        </p:spPr>
      </p:pic>
      <p:grpSp>
        <p:nvGrpSpPr>
          <p:cNvPr id="33" name="Gruppo 32">
            <a:extLst>
              <a:ext uri="{FF2B5EF4-FFF2-40B4-BE49-F238E27FC236}">
                <a16:creationId xmlns:a16="http://schemas.microsoft.com/office/drawing/2014/main" id="{A90831D9-BECA-2D79-4885-8D8B909491B3}"/>
              </a:ext>
            </a:extLst>
          </p:cNvPr>
          <p:cNvGrpSpPr/>
          <p:nvPr/>
        </p:nvGrpSpPr>
        <p:grpSpPr>
          <a:xfrm rot="5400000">
            <a:off x="4516093" y="3140389"/>
            <a:ext cx="540735" cy="602906"/>
            <a:chOff x="6350715" y="1151192"/>
            <a:chExt cx="816487" cy="910363"/>
          </a:xfrm>
        </p:grpSpPr>
        <p:pic>
          <p:nvPicPr>
            <p:cNvPr id="34" name="Immagine 33">
              <a:extLst>
                <a:ext uri="{FF2B5EF4-FFF2-40B4-BE49-F238E27FC236}">
                  <a16:creationId xmlns:a16="http://schemas.microsoft.com/office/drawing/2014/main" id="{BBCC41A7-1662-3201-5A9A-1F96E5CE6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50715" y="1385452"/>
              <a:ext cx="267093" cy="302662"/>
            </a:xfrm>
            <a:prstGeom prst="rect">
              <a:avLst/>
            </a:prstGeom>
          </p:spPr>
        </p:pic>
        <p:pic>
          <p:nvPicPr>
            <p:cNvPr id="35" name="Immagine 34">
              <a:extLst>
                <a:ext uri="{FF2B5EF4-FFF2-40B4-BE49-F238E27FC236}">
                  <a16:creationId xmlns:a16="http://schemas.microsoft.com/office/drawing/2014/main" id="{E6E7EDC6-9FBF-A21E-4B82-49A93FC2A2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58031" y="1371406"/>
              <a:ext cx="322219" cy="107455"/>
            </a:xfrm>
            <a:prstGeom prst="rect">
              <a:avLst/>
            </a:prstGeom>
          </p:spPr>
        </p:pic>
        <p:grpSp>
          <p:nvGrpSpPr>
            <p:cNvPr id="36" name="Gruppo 35">
              <a:extLst>
                <a:ext uri="{FF2B5EF4-FFF2-40B4-BE49-F238E27FC236}">
                  <a16:creationId xmlns:a16="http://schemas.microsoft.com/office/drawing/2014/main" id="{D37C2CF3-7E44-2E6B-243B-9E3C7FA9B7C1}"/>
                </a:ext>
              </a:extLst>
            </p:cNvPr>
            <p:cNvGrpSpPr/>
            <p:nvPr/>
          </p:nvGrpSpPr>
          <p:grpSpPr>
            <a:xfrm>
              <a:off x="6413391" y="1151192"/>
              <a:ext cx="753811" cy="910363"/>
              <a:chOff x="3797626" y="2264598"/>
              <a:chExt cx="753811" cy="910363"/>
            </a:xfrm>
          </p:grpSpPr>
          <p:pic>
            <p:nvPicPr>
              <p:cNvPr id="37" name="Immagine 36">
                <a:extLst>
                  <a:ext uri="{FF2B5EF4-FFF2-40B4-BE49-F238E27FC236}">
                    <a16:creationId xmlns:a16="http://schemas.microsoft.com/office/drawing/2014/main" id="{6FE02114-698F-FD7D-57CD-AA3ADF0825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38" name="Immagine 37">
                <a:extLst>
                  <a:ext uri="{FF2B5EF4-FFF2-40B4-BE49-F238E27FC236}">
                    <a16:creationId xmlns:a16="http://schemas.microsoft.com/office/drawing/2014/main" id="{8EE733D1-CD09-3F96-B999-274CB735E9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726176">
                <a:off x="4084301" y="2183710"/>
                <a:ext cx="196668" cy="358444"/>
              </a:xfrm>
              <a:prstGeom prst="rect">
                <a:avLst/>
              </a:prstGeom>
            </p:spPr>
          </p:pic>
          <p:pic>
            <p:nvPicPr>
              <p:cNvPr id="39" name="Immagine 38">
                <a:extLst>
                  <a:ext uri="{FF2B5EF4-FFF2-40B4-BE49-F238E27FC236}">
                    <a16:creationId xmlns:a16="http://schemas.microsoft.com/office/drawing/2014/main" id="{B070FFB9-64DC-A024-B737-C53B57D61B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</p:grpSp>
      <p:pic>
        <p:nvPicPr>
          <p:cNvPr id="12" name="Immagine 55">
            <a:extLst>
              <a:ext uri="{FF2B5EF4-FFF2-40B4-BE49-F238E27FC236}">
                <a16:creationId xmlns:a16="http://schemas.microsoft.com/office/drawing/2014/main" id="{8B84BBDB-2E5D-4A67-FE20-1BA4C2315EA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9041" y="2217025"/>
            <a:ext cx="264343" cy="214516"/>
          </a:xfrm>
          <a:prstGeom prst="rect">
            <a:avLst/>
          </a:prstGeom>
        </p:spPr>
      </p:pic>
      <p:pic>
        <p:nvPicPr>
          <p:cNvPr id="13" name="Immagine 55">
            <a:extLst>
              <a:ext uri="{FF2B5EF4-FFF2-40B4-BE49-F238E27FC236}">
                <a16:creationId xmlns:a16="http://schemas.microsoft.com/office/drawing/2014/main" id="{C5F80591-4401-2AEE-2AE3-90D7CD70784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9041" y="4288738"/>
            <a:ext cx="264343" cy="214516"/>
          </a:xfrm>
          <a:prstGeom prst="rect">
            <a:avLst/>
          </a:prstGeom>
        </p:spPr>
      </p:pic>
      <p:pic>
        <p:nvPicPr>
          <p:cNvPr id="14" name="Immagine 55">
            <a:extLst>
              <a:ext uri="{FF2B5EF4-FFF2-40B4-BE49-F238E27FC236}">
                <a16:creationId xmlns:a16="http://schemas.microsoft.com/office/drawing/2014/main" id="{5CDB225E-4A8D-6D73-BDB5-5E2A01DBFAF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2288" y="4288738"/>
            <a:ext cx="264343" cy="214516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EFC69CD-96DA-509E-BA94-CD147E71D44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9" name="Segnaposto contenuto 1">
            <a:extLst>
              <a:ext uri="{FF2B5EF4-FFF2-40B4-BE49-F238E27FC236}">
                <a16:creationId xmlns:a16="http://schemas.microsoft.com/office/drawing/2014/main" id="{814B46D0-54E4-0105-B347-74DE137AD465}"/>
              </a:ext>
            </a:extLst>
          </p:cNvPr>
          <p:cNvSpPr txBox="1">
            <a:spLocks/>
          </p:cNvSpPr>
          <p:nvPr/>
        </p:nvSpPr>
        <p:spPr>
          <a:xfrm>
            <a:off x="485483" y="1119942"/>
            <a:ext cx="3559175" cy="658642"/>
          </a:xfrm>
          <a:prstGeom prst="rect">
            <a:avLst/>
          </a:prstGeom>
          <a:solidFill>
            <a:schemeClr val="accent1"/>
          </a:solidFill>
          <a:effectLst/>
        </p:spPr>
        <p:txBody>
          <a:bodyPr vert="horz" lIns="216000" tIns="118872" rIns="180000" bIns="118872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it-IT">
                <a:solidFill>
                  <a:schemeClr val="bg1"/>
                </a:solidFill>
                <a:latin typeface="+mj-lt"/>
              </a:rPr>
              <a:t>Food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100">
                <a:solidFill>
                  <a:schemeClr val="bg1"/>
                </a:solidFill>
              </a:rPr>
              <a:t>Cleaning packaging machines</a:t>
            </a:r>
          </a:p>
        </p:txBody>
      </p:sp>
      <p:sp>
        <p:nvSpPr>
          <p:cNvPr id="20" name="Segnaposto contenuto 1">
            <a:extLst>
              <a:ext uri="{FF2B5EF4-FFF2-40B4-BE49-F238E27FC236}">
                <a16:creationId xmlns:a16="http://schemas.microsoft.com/office/drawing/2014/main" id="{A9F092A4-7683-D420-EBBF-35DFB12E7CA6}"/>
              </a:ext>
            </a:extLst>
          </p:cNvPr>
          <p:cNvSpPr txBox="1">
            <a:spLocks/>
          </p:cNvSpPr>
          <p:nvPr/>
        </p:nvSpPr>
        <p:spPr>
          <a:xfrm>
            <a:off x="4258057" y="1119942"/>
            <a:ext cx="3675888" cy="658642"/>
          </a:xfrm>
          <a:prstGeom prst="rect">
            <a:avLst/>
          </a:prstGeom>
          <a:solidFill>
            <a:schemeClr val="accent1"/>
          </a:solidFill>
          <a:effectLst/>
        </p:spPr>
        <p:txBody>
          <a:bodyPr vert="horz" wrap="square" lIns="216000" tIns="118872" rIns="180000" bIns="118872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it-IT">
                <a:solidFill>
                  <a:schemeClr val="bg1"/>
                </a:solidFill>
                <a:latin typeface="+mj-lt"/>
              </a:rPr>
              <a:t>Metal &amp; additive manufacturing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100">
                <a:solidFill>
                  <a:schemeClr val="bg1"/>
                </a:solidFill>
              </a:rPr>
              <a:t>Cleaning 3D printers</a:t>
            </a:r>
          </a:p>
        </p:txBody>
      </p:sp>
      <p:pic>
        <p:nvPicPr>
          <p:cNvPr id="2" name="Immagine 71">
            <a:extLst>
              <a:ext uri="{FF2B5EF4-FFF2-40B4-BE49-F238E27FC236}">
                <a16:creationId xmlns:a16="http://schemas.microsoft.com/office/drawing/2014/main" id="{D1057846-A263-CDAF-FF8E-2DE91541D6B3}"/>
              </a:ext>
            </a:extLst>
          </p:cNvPr>
          <p:cNvPicPr>
            <a:picLocks noChangeAspect="1"/>
          </p:cNvPicPr>
          <p:nvPr/>
        </p:nvPicPr>
        <p:blipFill>
          <a:blip r:embed="rId29"/>
          <a:srcRect/>
          <a:stretch/>
        </p:blipFill>
        <p:spPr>
          <a:xfrm>
            <a:off x="5090606" y="4068738"/>
            <a:ext cx="799318" cy="1283334"/>
          </a:xfrm>
          <a:prstGeom prst="rect">
            <a:avLst/>
          </a:prstGeom>
        </p:spPr>
      </p:pic>
      <p:pic>
        <p:nvPicPr>
          <p:cNvPr id="3" name="Immagine 73">
            <a:extLst>
              <a:ext uri="{FF2B5EF4-FFF2-40B4-BE49-F238E27FC236}">
                <a16:creationId xmlns:a16="http://schemas.microsoft.com/office/drawing/2014/main" id="{5321BA6B-ECAD-B56B-3AE5-1D4075327055}"/>
              </a:ext>
            </a:extLst>
          </p:cNvPr>
          <p:cNvPicPr>
            <a:picLocks noChangeAspect="1"/>
          </p:cNvPicPr>
          <p:nvPr/>
        </p:nvPicPr>
        <p:blipFill>
          <a:blip r:embed="rId30"/>
          <a:srcRect/>
          <a:stretch/>
        </p:blipFill>
        <p:spPr>
          <a:xfrm>
            <a:off x="5056778" y="2051619"/>
            <a:ext cx="780147" cy="1278799"/>
          </a:xfrm>
          <a:prstGeom prst="rect">
            <a:avLst/>
          </a:prstGeom>
        </p:spPr>
      </p:pic>
      <p:pic>
        <p:nvPicPr>
          <p:cNvPr id="4" name="Immagine 77">
            <a:extLst>
              <a:ext uri="{FF2B5EF4-FFF2-40B4-BE49-F238E27FC236}">
                <a16:creationId xmlns:a16="http://schemas.microsoft.com/office/drawing/2014/main" id="{2D068CAD-EFA1-DFC9-0FB6-5674DA1FE105}"/>
              </a:ext>
            </a:extLst>
          </p:cNvPr>
          <p:cNvPicPr>
            <a:picLocks noChangeAspect="1"/>
          </p:cNvPicPr>
          <p:nvPr/>
        </p:nvPicPr>
        <p:blipFill>
          <a:blip r:embed="rId31"/>
          <a:srcRect/>
          <a:stretch/>
        </p:blipFill>
        <p:spPr>
          <a:xfrm>
            <a:off x="1312468" y="4106289"/>
            <a:ext cx="801162" cy="1256560"/>
          </a:xfrm>
          <a:prstGeom prst="rect">
            <a:avLst/>
          </a:prstGeom>
        </p:spPr>
      </p:pic>
      <p:pic>
        <p:nvPicPr>
          <p:cNvPr id="5" name="Immagine 78">
            <a:extLst>
              <a:ext uri="{FF2B5EF4-FFF2-40B4-BE49-F238E27FC236}">
                <a16:creationId xmlns:a16="http://schemas.microsoft.com/office/drawing/2014/main" id="{77121C46-09B9-F590-B6A7-92D522104A74}"/>
              </a:ext>
            </a:extLst>
          </p:cNvPr>
          <p:cNvPicPr>
            <a:picLocks noChangeAspect="1"/>
          </p:cNvPicPr>
          <p:nvPr/>
        </p:nvPicPr>
        <p:blipFill>
          <a:blip r:embed="rId29"/>
          <a:srcRect/>
          <a:stretch/>
        </p:blipFill>
        <p:spPr>
          <a:xfrm>
            <a:off x="9008051" y="4068738"/>
            <a:ext cx="813291" cy="1305768"/>
          </a:xfrm>
          <a:prstGeom prst="rect">
            <a:avLst/>
          </a:prstGeom>
        </p:spPr>
      </p:pic>
      <p:pic>
        <p:nvPicPr>
          <p:cNvPr id="9" name="Immagine 193">
            <a:extLst>
              <a:ext uri="{FF2B5EF4-FFF2-40B4-BE49-F238E27FC236}">
                <a16:creationId xmlns:a16="http://schemas.microsoft.com/office/drawing/2014/main" id="{64830671-6C12-384F-436E-5DF48E1E67FB}"/>
              </a:ext>
            </a:extLst>
          </p:cNvPr>
          <p:cNvPicPr>
            <a:picLocks noChangeAspect="1"/>
          </p:cNvPicPr>
          <p:nvPr/>
        </p:nvPicPr>
        <p:blipFill>
          <a:blip r:embed="rId32"/>
          <a:srcRect/>
          <a:stretch/>
        </p:blipFill>
        <p:spPr>
          <a:xfrm>
            <a:off x="8993150" y="2053651"/>
            <a:ext cx="839278" cy="126693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ADC8B89-E8F8-F73E-F580-0BB1BB737366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338803" y="2032940"/>
            <a:ext cx="780148" cy="1278799"/>
          </a:xfrm>
          <a:prstGeom prst="rect">
            <a:avLst/>
          </a:prstGeom>
        </p:spPr>
      </p:pic>
      <p:grpSp>
        <p:nvGrpSpPr>
          <p:cNvPr id="18" name="Gruppo 179">
            <a:extLst>
              <a:ext uri="{FF2B5EF4-FFF2-40B4-BE49-F238E27FC236}">
                <a16:creationId xmlns:a16="http://schemas.microsoft.com/office/drawing/2014/main" id="{4F5761BE-E25B-D392-E500-78554F26E43C}"/>
              </a:ext>
            </a:extLst>
          </p:cNvPr>
          <p:cNvGrpSpPr/>
          <p:nvPr/>
        </p:nvGrpSpPr>
        <p:grpSpPr>
          <a:xfrm>
            <a:off x="8391116" y="5255249"/>
            <a:ext cx="885444" cy="508488"/>
            <a:chOff x="4850897" y="4614325"/>
            <a:chExt cx="2559096" cy="1469626"/>
          </a:xfrm>
        </p:grpSpPr>
        <p:pic>
          <p:nvPicPr>
            <p:cNvPr id="22" name="Immagine 180">
              <a:extLst>
                <a:ext uri="{FF2B5EF4-FFF2-40B4-BE49-F238E27FC236}">
                  <a16:creationId xmlns:a16="http://schemas.microsoft.com/office/drawing/2014/main" id="{993BF774-C214-F086-E0F9-754E25E913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6270162" y="4710819"/>
              <a:ext cx="1061455" cy="988638"/>
            </a:xfrm>
            <a:prstGeom prst="rect">
              <a:avLst/>
            </a:prstGeom>
          </p:spPr>
        </p:pic>
        <p:pic>
          <p:nvPicPr>
            <p:cNvPr id="23" name="Immagine 181">
              <a:extLst>
                <a:ext uri="{FF2B5EF4-FFF2-40B4-BE49-F238E27FC236}">
                  <a16:creationId xmlns:a16="http://schemas.microsoft.com/office/drawing/2014/main" id="{8F5020B3-6F7A-6877-59E4-2354FC3B6D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4850897" y="4646964"/>
              <a:ext cx="525727" cy="1436987"/>
            </a:xfrm>
            <a:prstGeom prst="rect">
              <a:avLst/>
            </a:prstGeom>
          </p:spPr>
        </p:pic>
        <p:pic>
          <p:nvPicPr>
            <p:cNvPr id="24" name="Immagine 182">
              <a:extLst>
                <a:ext uri="{FF2B5EF4-FFF2-40B4-BE49-F238E27FC236}">
                  <a16:creationId xmlns:a16="http://schemas.microsoft.com/office/drawing/2014/main" id="{42FA13D4-BF32-3428-7135-6D8A25466F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5533454" y="5056758"/>
              <a:ext cx="967606" cy="1015718"/>
            </a:xfrm>
            <a:prstGeom prst="rect">
              <a:avLst/>
            </a:prstGeom>
          </p:spPr>
        </p:pic>
        <p:pic>
          <p:nvPicPr>
            <p:cNvPr id="25" name="Immagine 189">
              <a:extLst>
                <a:ext uri="{FF2B5EF4-FFF2-40B4-BE49-F238E27FC236}">
                  <a16:creationId xmlns:a16="http://schemas.microsoft.com/office/drawing/2014/main" id="{53CFDD50-C41C-A349-7EBA-919BCDDBE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6732545" y="4825348"/>
              <a:ext cx="677448" cy="375344"/>
            </a:xfrm>
            <a:prstGeom prst="rect">
              <a:avLst/>
            </a:prstGeom>
          </p:spPr>
        </p:pic>
        <p:pic>
          <p:nvPicPr>
            <p:cNvPr id="26" name="Immagine 191">
              <a:extLst>
                <a:ext uri="{FF2B5EF4-FFF2-40B4-BE49-F238E27FC236}">
                  <a16:creationId xmlns:a16="http://schemas.microsoft.com/office/drawing/2014/main" id="{916293BC-6A30-2B8F-81B6-0BA05515AA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 rot="15504426">
              <a:off x="4913339" y="4720550"/>
              <a:ext cx="695958" cy="483508"/>
            </a:xfrm>
            <a:prstGeom prst="rect">
              <a:avLst/>
            </a:prstGeom>
          </p:spPr>
        </p:pic>
        <p:pic>
          <p:nvPicPr>
            <p:cNvPr id="27" name="Immagine 192">
              <a:extLst>
                <a:ext uri="{FF2B5EF4-FFF2-40B4-BE49-F238E27FC236}">
                  <a16:creationId xmlns:a16="http://schemas.microsoft.com/office/drawing/2014/main" id="{F8C59408-EDEF-BAF3-4504-876723776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 rot="9455951">
              <a:off x="5638021" y="4712135"/>
              <a:ext cx="552313" cy="302286"/>
            </a:xfrm>
            <a:prstGeom prst="rect">
              <a:avLst/>
            </a:prstGeom>
          </p:spPr>
        </p:pic>
      </p:grpSp>
      <p:grpSp>
        <p:nvGrpSpPr>
          <p:cNvPr id="30" name="Gruppo 85">
            <a:extLst>
              <a:ext uri="{FF2B5EF4-FFF2-40B4-BE49-F238E27FC236}">
                <a16:creationId xmlns:a16="http://schemas.microsoft.com/office/drawing/2014/main" id="{B4FD1A40-D5D7-6846-2AFF-6ED219E2932F}"/>
              </a:ext>
            </a:extLst>
          </p:cNvPr>
          <p:cNvGrpSpPr/>
          <p:nvPr/>
        </p:nvGrpSpPr>
        <p:grpSpPr>
          <a:xfrm>
            <a:off x="706365" y="5159563"/>
            <a:ext cx="554141" cy="549947"/>
            <a:chOff x="4884344" y="4613912"/>
            <a:chExt cx="983335" cy="983927"/>
          </a:xfrm>
        </p:grpSpPr>
        <p:grpSp>
          <p:nvGrpSpPr>
            <p:cNvPr id="31" name="Gruppo 131">
              <a:extLst>
                <a:ext uri="{FF2B5EF4-FFF2-40B4-BE49-F238E27FC236}">
                  <a16:creationId xmlns:a16="http://schemas.microsoft.com/office/drawing/2014/main" id="{1838B501-3ABB-A556-480A-2C0669DFC4BE}"/>
                </a:ext>
              </a:extLst>
            </p:cNvPr>
            <p:cNvGrpSpPr/>
            <p:nvPr/>
          </p:nvGrpSpPr>
          <p:grpSpPr>
            <a:xfrm>
              <a:off x="4885405" y="4613912"/>
              <a:ext cx="982274" cy="983927"/>
              <a:chOff x="5040844" y="3487834"/>
              <a:chExt cx="690876" cy="685187"/>
            </a:xfrm>
          </p:grpSpPr>
          <p:grpSp>
            <p:nvGrpSpPr>
              <p:cNvPr id="48" name="Gruppo 136">
                <a:extLst>
                  <a:ext uri="{FF2B5EF4-FFF2-40B4-BE49-F238E27FC236}">
                    <a16:creationId xmlns:a16="http://schemas.microsoft.com/office/drawing/2014/main" id="{0B3CF15D-D2C5-AFD9-44DC-D1720A0E9B19}"/>
                  </a:ext>
                </a:extLst>
              </p:cNvPr>
              <p:cNvGrpSpPr/>
              <p:nvPr/>
            </p:nvGrpSpPr>
            <p:grpSpPr>
              <a:xfrm>
                <a:off x="5040844" y="3487834"/>
                <a:ext cx="628924" cy="463599"/>
                <a:chOff x="10689590" y="2990149"/>
                <a:chExt cx="628924" cy="463599"/>
              </a:xfrm>
            </p:grpSpPr>
            <p:pic>
              <p:nvPicPr>
                <p:cNvPr id="50" name="Immagine 138">
                  <a:extLst>
                    <a:ext uri="{FF2B5EF4-FFF2-40B4-BE49-F238E27FC236}">
                      <a16:creationId xmlns:a16="http://schemas.microsoft.com/office/drawing/2014/main" id="{35703B72-44DC-2C0B-579B-8FD60AB12D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 rot="21116972">
                  <a:off x="10689590" y="3336387"/>
                  <a:ext cx="160952" cy="117361"/>
                </a:xfrm>
                <a:prstGeom prst="rect">
                  <a:avLst/>
                </a:prstGeom>
              </p:spPr>
            </p:pic>
            <p:pic>
              <p:nvPicPr>
                <p:cNvPr id="51" name="Immagine 139">
                  <a:extLst>
                    <a:ext uri="{FF2B5EF4-FFF2-40B4-BE49-F238E27FC236}">
                      <a16:creationId xmlns:a16="http://schemas.microsoft.com/office/drawing/2014/main" id="{7C958305-0247-47B9-C457-3551CE019F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0"/>
                <a:stretch>
                  <a:fillRect/>
                </a:stretch>
              </p:blipFill>
              <p:spPr>
                <a:xfrm rot="17046960" flipH="1" flipV="1">
                  <a:off x="10895908" y="3081412"/>
                  <a:ext cx="250021" cy="288486"/>
                </a:xfrm>
                <a:prstGeom prst="rect">
                  <a:avLst/>
                </a:prstGeom>
              </p:spPr>
            </p:pic>
            <p:pic>
              <p:nvPicPr>
                <p:cNvPr id="52" name="Immagine 140">
                  <a:extLst>
                    <a:ext uri="{FF2B5EF4-FFF2-40B4-BE49-F238E27FC236}">
                      <a16:creationId xmlns:a16="http://schemas.microsoft.com/office/drawing/2014/main" id="{4D850FFE-B6D2-8B79-6461-7B476E2665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11059332" y="2990149"/>
                  <a:ext cx="259182" cy="90529"/>
                </a:xfrm>
                <a:prstGeom prst="rect">
                  <a:avLst/>
                </a:prstGeom>
              </p:spPr>
            </p:pic>
          </p:grpSp>
          <p:pic>
            <p:nvPicPr>
              <p:cNvPr id="49" name="Immagine 137">
                <a:extLst>
                  <a:ext uri="{FF2B5EF4-FFF2-40B4-BE49-F238E27FC236}">
                    <a16:creationId xmlns:a16="http://schemas.microsoft.com/office/drawing/2014/main" id="{46D89EE1-EB82-32E6-87B6-14376A7B84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2"/>
              <a:stretch>
                <a:fillRect/>
              </a:stretch>
            </p:blipFill>
            <p:spPr>
              <a:xfrm>
                <a:off x="5348635" y="3772910"/>
                <a:ext cx="383085" cy="400111"/>
              </a:xfrm>
              <a:prstGeom prst="rect">
                <a:avLst/>
              </a:prstGeom>
            </p:spPr>
          </p:pic>
        </p:grpSp>
        <p:pic>
          <p:nvPicPr>
            <p:cNvPr id="32" name="Immagine 132">
              <a:extLst>
                <a:ext uri="{FF2B5EF4-FFF2-40B4-BE49-F238E27FC236}">
                  <a16:creationId xmlns:a16="http://schemas.microsoft.com/office/drawing/2014/main" id="{975656F2-FF5F-5EF6-5C87-C14992531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 rot="20749839" flipH="1">
              <a:off x="4884344" y="4773559"/>
              <a:ext cx="228930" cy="177651"/>
            </a:xfrm>
            <a:prstGeom prst="rect">
              <a:avLst/>
            </a:prstGeom>
          </p:spPr>
        </p:pic>
        <p:pic>
          <p:nvPicPr>
            <p:cNvPr id="47" name="Immagine 134">
              <a:extLst>
                <a:ext uri="{FF2B5EF4-FFF2-40B4-BE49-F238E27FC236}">
                  <a16:creationId xmlns:a16="http://schemas.microsoft.com/office/drawing/2014/main" id="{66DE500E-A8EB-0998-7A6C-95ECF55306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 rot="6637136">
              <a:off x="5084531" y="4674598"/>
              <a:ext cx="121465" cy="93702"/>
            </a:xfrm>
            <a:prstGeom prst="rect">
              <a:avLst/>
            </a:prstGeom>
          </p:spPr>
        </p:pic>
      </p:grpSp>
      <p:grpSp>
        <p:nvGrpSpPr>
          <p:cNvPr id="53" name="Gruppo 32">
            <a:extLst>
              <a:ext uri="{FF2B5EF4-FFF2-40B4-BE49-F238E27FC236}">
                <a16:creationId xmlns:a16="http://schemas.microsoft.com/office/drawing/2014/main" id="{4A845A36-4E2B-C560-34F8-56A1F2FF220C}"/>
              </a:ext>
            </a:extLst>
          </p:cNvPr>
          <p:cNvGrpSpPr/>
          <p:nvPr/>
        </p:nvGrpSpPr>
        <p:grpSpPr>
          <a:xfrm rot="5400000">
            <a:off x="4521257" y="5156522"/>
            <a:ext cx="537638" cy="599454"/>
            <a:chOff x="6350715" y="1151192"/>
            <a:chExt cx="816487" cy="910363"/>
          </a:xfrm>
        </p:grpSpPr>
        <p:pic>
          <p:nvPicPr>
            <p:cNvPr id="54" name="Immagine 33">
              <a:extLst>
                <a:ext uri="{FF2B5EF4-FFF2-40B4-BE49-F238E27FC236}">
                  <a16:creationId xmlns:a16="http://schemas.microsoft.com/office/drawing/2014/main" id="{5A5F7187-73AD-79F1-EE70-F460675E61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6350715" y="1385452"/>
              <a:ext cx="267093" cy="302662"/>
            </a:xfrm>
            <a:prstGeom prst="rect">
              <a:avLst/>
            </a:prstGeom>
          </p:spPr>
        </p:pic>
        <p:pic>
          <p:nvPicPr>
            <p:cNvPr id="57" name="Immagine 34">
              <a:extLst>
                <a:ext uri="{FF2B5EF4-FFF2-40B4-BE49-F238E27FC236}">
                  <a16:creationId xmlns:a16="http://schemas.microsoft.com/office/drawing/2014/main" id="{D82EF9E3-4505-4011-5E9E-308BC7AC5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6758031" y="1371406"/>
              <a:ext cx="322219" cy="107455"/>
            </a:xfrm>
            <a:prstGeom prst="rect">
              <a:avLst/>
            </a:prstGeom>
          </p:spPr>
        </p:pic>
        <p:grpSp>
          <p:nvGrpSpPr>
            <p:cNvPr id="58" name="Gruppo 35">
              <a:extLst>
                <a:ext uri="{FF2B5EF4-FFF2-40B4-BE49-F238E27FC236}">
                  <a16:creationId xmlns:a16="http://schemas.microsoft.com/office/drawing/2014/main" id="{FC495310-287D-59F6-C73E-3F14CE1D7762}"/>
                </a:ext>
              </a:extLst>
            </p:cNvPr>
            <p:cNvGrpSpPr/>
            <p:nvPr/>
          </p:nvGrpSpPr>
          <p:grpSpPr>
            <a:xfrm>
              <a:off x="6413391" y="1151192"/>
              <a:ext cx="753811" cy="910363"/>
              <a:chOff x="3797626" y="2264598"/>
              <a:chExt cx="753811" cy="910363"/>
            </a:xfrm>
          </p:grpSpPr>
          <p:pic>
            <p:nvPicPr>
              <p:cNvPr id="59" name="Immagine 36">
                <a:extLst>
                  <a:ext uri="{FF2B5EF4-FFF2-40B4-BE49-F238E27FC236}">
                    <a16:creationId xmlns:a16="http://schemas.microsoft.com/office/drawing/2014/main" id="{68236E4E-83EF-EF2C-F4CC-CECE9EB722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6"/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60" name="Immagine 37">
                <a:extLst>
                  <a:ext uri="{FF2B5EF4-FFF2-40B4-BE49-F238E27FC236}">
                    <a16:creationId xmlns:a16="http://schemas.microsoft.com/office/drawing/2014/main" id="{D5899812-5D61-2D7D-CE73-40DB7A81ED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7"/>
              <a:stretch>
                <a:fillRect/>
              </a:stretch>
            </p:blipFill>
            <p:spPr>
              <a:xfrm rot="2726176">
                <a:off x="4084301" y="2183710"/>
                <a:ext cx="196668" cy="358444"/>
              </a:xfrm>
              <a:prstGeom prst="rect">
                <a:avLst/>
              </a:prstGeom>
            </p:spPr>
          </p:pic>
          <p:pic>
            <p:nvPicPr>
              <p:cNvPr id="61" name="Immagine 38">
                <a:extLst>
                  <a:ext uri="{FF2B5EF4-FFF2-40B4-BE49-F238E27FC236}">
                    <a16:creationId xmlns:a16="http://schemas.microsoft.com/office/drawing/2014/main" id="{41E64B5F-082D-0A79-2ACD-057AA40632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1021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14E3C1A-7997-C1CC-55F5-D4FA7A454D2E}"/>
              </a:ext>
            </a:extLst>
          </p:cNvPr>
          <p:cNvSpPr/>
          <p:nvPr/>
        </p:nvSpPr>
        <p:spPr>
          <a:xfrm>
            <a:off x="0" y="0"/>
            <a:ext cx="12192000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7" name="Segnaposto contenuto 1">
            <a:extLst>
              <a:ext uri="{FF2B5EF4-FFF2-40B4-BE49-F238E27FC236}">
                <a16:creationId xmlns:a16="http://schemas.microsoft.com/office/drawing/2014/main" id="{554583C5-2278-43FF-1F55-EEE9D4B2B4B2}"/>
              </a:ext>
            </a:extLst>
          </p:cNvPr>
          <p:cNvSpPr txBox="1">
            <a:spLocks/>
          </p:cNvSpPr>
          <p:nvPr/>
        </p:nvSpPr>
        <p:spPr>
          <a:xfrm>
            <a:off x="485483" y="1119942"/>
            <a:ext cx="3559175" cy="4910328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1100"/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ECEF31E3-512B-C3B0-3537-4FAC6542439E}"/>
              </a:ext>
            </a:extLst>
          </p:cNvPr>
          <p:cNvSpPr txBox="1">
            <a:spLocks/>
          </p:cNvSpPr>
          <p:nvPr/>
        </p:nvSpPr>
        <p:spPr>
          <a:xfrm>
            <a:off x="4258601" y="1119943"/>
            <a:ext cx="3674353" cy="4910328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100"/>
              <a:t> </a:t>
            </a:r>
          </a:p>
        </p:txBody>
      </p:sp>
      <p:sp>
        <p:nvSpPr>
          <p:cNvPr id="12" name="Segnaposto contenuto 3">
            <a:extLst>
              <a:ext uri="{FF2B5EF4-FFF2-40B4-BE49-F238E27FC236}">
                <a16:creationId xmlns:a16="http://schemas.microsoft.com/office/drawing/2014/main" id="{DD16DDE1-6965-7138-DDFB-AF7927CE5473}"/>
              </a:ext>
            </a:extLst>
          </p:cNvPr>
          <p:cNvSpPr txBox="1">
            <a:spLocks/>
          </p:cNvSpPr>
          <p:nvPr/>
        </p:nvSpPr>
        <p:spPr>
          <a:xfrm>
            <a:off x="8165830" y="1119944"/>
            <a:ext cx="3539143" cy="4910328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216000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sz="110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16F2458-9481-8B0C-1755-9BF6F0F3DE5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84A72AF-CC40-6B9C-0A20-22D333F54C76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  <p:grpSp>
        <p:nvGrpSpPr>
          <p:cNvPr id="68" name="Gruppo 67">
            <a:extLst>
              <a:ext uri="{FF2B5EF4-FFF2-40B4-BE49-F238E27FC236}">
                <a16:creationId xmlns:a16="http://schemas.microsoft.com/office/drawing/2014/main" id="{DA131806-8187-B9FB-8513-8413D5669527}"/>
              </a:ext>
            </a:extLst>
          </p:cNvPr>
          <p:cNvGrpSpPr/>
          <p:nvPr/>
        </p:nvGrpSpPr>
        <p:grpSpPr>
          <a:xfrm>
            <a:off x="4371627" y="3085558"/>
            <a:ext cx="759830" cy="580782"/>
            <a:chOff x="4515126" y="4549966"/>
            <a:chExt cx="799196" cy="610872"/>
          </a:xfrm>
        </p:grpSpPr>
        <p:pic>
          <p:nvPicPr>
            <p:cNvPr id="69" name="Immagine 68">
              <a:extLst>
                <a:ext uri="{FF2B5EF4-FFF2-40B4-BE49-F238E27FC236}">
                  <a16:creationId xmlns:a16="http://schemas.microsoft.com/office/drawing/2014/main" id="{4E8F92DD-4EF3-A9AD-4609-A6A4C3859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046960" flipH="1" flipV="1">
              <a:off x="4748838" y="4530734"/>
              <a:ext cx="250021" cy="288486"/>
            </a:xfrm>
            <a:prstGeom prst="rect">
              <a:avLst/>
            </a:prstGeom>
          </p:spPr>
        </p:pic>
        <p:pic>
          <p:nvPicPr>
            <p:cNvPr id="70" name="Immagine 69">
              <a:extLst>
                <a:ext uri="{FF2B5EF4-FFF2-40B4-BE49-F238E27FC236}">
                  <a16:creationId xmlns:a16="http://schemas.microsoft.com/office/drawing/2014/main" id="{0FF42D83-2E56-1563-7D26-889B0B86F6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700000">
              <a:off x="4579045" y="4757139"/>
              <a:ext cx="77236" cy="205074"/>
            </a:xfrm>
            <a:prstGeom prst="rect">
              <a:avLst/>
            </a:prstGeom>
          </p:spPr>
        </p:pic>
        <p:pic>
          <p:nvPicPr>
            <p:cNvPr id="71" name="Immagine 70">
              <a:extLst>
                <a:ext uri="{FF2B5EF4-FFF2-40B4-BE49-F238E27FC236}">
                  <a16:creationId xmlns:a16="http://schemas.microsoft.com/office/drawing/2014/main" id="{8AB2563A-E42C-01B8-D277-CF0E4030E7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79244" y="4772614"/>
              <a:ext cx="435078" cy="388224"/>
            </a:xfrm>
            <a:prstGeom prst="rect">
              <a:avLst/>
            </a:prstGeom>
          </p:spPr>
        </p:pic>
      </p:grpSp>
      <p:pic>
        <p:nvPicPr>
          <p:cNvPr id="73" name="Picture 34">
            <a:extLst>
              <a:ext uri="{FF2B5EF4-FFF2-40B4-BE49-F238E27FC236}">
                <a16:creationId xmlns:a16="http://schemas.microsoft.com/office/drawing/2014/main" id="{CC19D69E-A61B-03A6-EF38-0B55633BE5E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0400" y="2187017"/>
            <a:ext cx="539894" cy="18997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2" name="Immagine 101">
            <a:extLst>
              <a:ext uri="{FF2B5EF4-FFF2-40B4-BE49-F238E27FC236}">
                <a16:creationId xmlns:a16="http://schemas.microsoft.com/office/drawing/2014/main" id="{4B0B7A0C-1C34-8137-65F8-3C066398A18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017" y="4522625"/>
            <a:ext cx="487173" cy="184995"/>
          </a:xfrm>
          <a:prstGeom prst="rect">
            <a:avLst/>
          </a:prstGeom>
        </p:spPr>
      </p:pic>
      <p:pic>
        <p:nvPicPr>
          <p:cNvPr id="105" name="Immagine 104">
            <a:extLst>
              <a:ext uri="{FF2B5EF4-FFF2-40B4-BE49-F238E27FC236}">
                <a16:creationId xmlns:a16="http://schemas.microsoft.com/office/drawing/2014/main" id="{92045FEB-F507-17EF-A552-39B7B88BFCF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3085" y="4475535"/>
            <a:ext cx="487175" cy="140056"/>
          </a:xfrm>
          <a:prstGeom prst="rect">
            <a:avLst/>
          </a:prstGeom>
        </p:spPr>
      </p:pic>
      <p:grpSp>
        <p:nvGrpSpPr>
          <p:cNvPr id="122" name="Gruppo 121">
            <a:extLst>
              <a:ext uri="{FF2B5EF4-FFF2-40B4-BE49-F238E27FC236}">
                <a16:creationId xmlns:a16="http://schemas.microsoft.com/office/drawing/2014/main" id="{171320A9-015D-5EE7-2D3E-9A1B09EB2F6E}"/>
              </a:ext>
            </a:extLst>
          </p:cNvPr>
          <p:cNvGrpSpPr/>
          <p:nvPr/>
        </p:nvGrpSpPr>
        <p:grpSpPr>
          <a:xfrm>
            <a:off x="4312244" y="5098387"/>
            <a:ext cx="799196" cy="610872"/>
            <a:chOff x="4515126" y="4549966"/>
            <a:chExt cx="799196" cy="610872"/>
          </a:xfrm>
        </p:grpSpPr>
        <p:pic>
          <p:nvPicPr>
            <p:cNvPr id="123" name="Immagine 122">
              <a:extLst>
                <a:ext uri="{FF2B5EF4-FFF2-40B4-BE49-F238E27FC236}">
                  <a16:creationId xmlns:a16="http://schemas.microsoft.com/office/drawing/2014/main" id="{FF24FC66-4F0F-87FD-1DEB-8D9DE103E5D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046960" flipH="1" flipV="1">
              <a:off x="4748838" y="4530734"/>
              <a:ext cx="250021" cy="288486"/>
            </a:xfrm>
            <a:prstGeom prst="rect">
              <a:avLst/>
            </a:prstGeom>
          </p:spPr>
        </p:pic>
        <p:pic>
          <p:nvPicPr>
            <p:cNvPr id="124" name="Immagine 123">
              <a:extLst>
                <a:ext uri="{FF2B5EF4-FFF2-40B4-BE49-F238E27FC236}">
                  <a16:creationId xmlns:a16="http://schemas.microsoft.com/office/drawing/2014/main" id="{E38D717C-5829-CCC9-DED5-FB70679A0A4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700000">
              <a:off x="4579045" y="4757139"/>
              <a:ext cx="77236" cy="205074"/>
            </a:xfrm>
            <a:prstGeom prst="rect">
              <a:avLst/>
            </a:prstGeom>
          </p:spPr>
        </p:pic>
        <p:pic>
          <p:nvPicPr>
            <p:cNvPr id="125" name="Immagine 124">
              <a:extLst>
                <a:ext uri="{FF2B5EF4-FFF2-40B4-BE49-F238E27FC236}">
                  <a16:creationId xmlns:a16="http://schemas.microsoft.com/office/drawing/2014/main" id="{230FA69B-B16C-34CB-81BA-170A6BA2F5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79244" y="4772614"/>
              <a:ext cx="435078" cy="388224"/>
            </a:xfrm>
            <a:prstGeom prst="rect">
              <a:avLst/>
            </a:prstGeom>
          </p:spPr>
        </p:pic>
      </p:grpSp>
      <p:pic>
        <p:nvPicPr>
          <p:cNvPr id="127" name="Picture 34">
            <a:extLst>
              <a:ext uri="{FF2B5EF4-FFF2-40B4-BE49-F238E27FC236}">
                <a16:creationId xmlns:a16="http://schemas.microsoft.com/office/drawing/2014/main" id="{6CF2E9BD-B0DE-4088-528D-1D581820B241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1403" y="4238094"/>
            <a:ext cx="488857" cy="17201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28" name="Immagine 127">
            <a:extLst>
              <a:ext uri="{FF2B5EF4-FFF2-40B4-BE49-F238E27FC236}">
                <a16:creationId xmlns:a16="http://schemas.microsoft.com/office/drawing/2014/main" id="{A4266FFC-7412-E9F7-17B3-E787CA1F4BCF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3085" y="2596655"/>
            <a:ext cx="495422" cy="142428"/>
          </a:xfrm>
          <a:prstGeom prst="rect">
            <a:avLst/>
          </a:prstGeom>
        </p:spPr>
      </p:pic>
      <p:pic>
        <p:nvPicPr>
          <p:cNvPr id="129" name="Immagine 128">
            <a:extLst>
              <a:ext uri="{FF2B5EF4-FFF2-40B4-BE49-F238E27FC236}">
                <a16:creationId xmlns:a16="http://schemas.microsoft.com/office/drawing/2014/main" id="{6239994E-AD56-1BD6-EDFD-B123B942B345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8306" y="2431072"/>
            <a:ext cx="520641" cy="142428"/>
          </a:xfrm>
          <a:prstGeom prst="rect">
            <a:avLst/>
          </a:prstGeom>
        </p:spPr>
      </p:pic>
      <p:pic>
        <p:nvPicPr>
          <p:cNvPr id="87" name="Segnaposto contenuto 16">
            <a:extLst>
              <a:ext uri="{FF2B5EF4-FFF2-40B4-BE49-F238E27FC236}">
                <a16:creationId xmlns:a16="http://schemas.microsoft.com/office/drawing/2014/main" id="{660F6FAF-96FC-1E9E-E38C-E5B40AFF4123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9688" y="4103389"/>
            <a:ext cx="558574" cy="1074750"/>
          </a:xfrm>
          <a:prstGeom prst="rect">
            <a:avLst/>
          </a:prstGeom>
          <a:effectLst/>
        </p:spPr>
      </p:pic>
      <p:pic>
        <p:nvPicPr>
          <p:cNvPr id="88" name="Segnaposto contenuto 20">
            <a:extLst>
              <a:ext uri="{FF2B5EF4-FFF2-40B4-BE49-F238E27FC236}">
                <a16:creationId xmlns:a16="http://schemas.microsoft.com/office/drawing/2014/main" id="{CE488739-8FDA-AEEE-9336-1E3C51785FC9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6163" y="2104944"/>
            <a:ext cx="564700" cy="1074752"/>
          </a:xfrm>
          <a:prstGeom prst="rect">
            <a:avLst/>
          </a:prstGeom>
          <a:solidFill>
            <a:schemeClr val="bg1"/>
          </a:solidFill>
          <a:effectLst/>
        </p:spPr>
      </p:pic>
      <p:pic>
        <p:nvPicPr>
          <p:cNvPr id="19" name="Immagine 18" descr="Immagine che contiene cilindro, elettrodomestico da cucina, elettrodomestico&#10;&#10;Descrizione generata automaticamente">
            <a:extLst>
              <a:ext uri="{FF2B5EF4-FFF2-40B4-BE49-F238E27FC236}">
                <a16:creationId xmlns:a16="http://schemas.microsoft.com/office/drawing/2014/main" id="{5B146BC6-73A3-2BBF-A72F-218B9A819C12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5419" y="4089016"/>
            <a:ext cx="829359" cy="1300784"/>
          </a:xfrm>
          <a:prstGeom prst="rect">
            <a:avLst/>
          </a:prstGeom>
        </p:spPr>
      </p:pic>
      <p:pic>
        <p:nvPicPr>
          <p:cNvPr id="21" name="Immagine 20" descr="Immagine che contiene Elettrodomestico, coperchio, elettrodomestico da cucina, elettrodomestico&#10;&#10;Descrizione generata automaticamente">
            <a:extLst>
              <a:ext uri="{FF2B5EF4-FFF2-40B4-BE49-F238E27FC236}">
                <a16:creationId xmlns:a16="http://schemas.microsoft.com/office/drawing/2014/main" id="{3471F922-A318-D75C-C103-6B814920615F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275" y="4076343"/>
            <a:ext cx="786374" cy="1262553"/>
          </a:xfrm>
          <a:prstGeom prst="rect">
            <a:avLst/>
          </a:prstGeom>
        </p:spPr>
      </p:pic>
      <p:pic>
        <p:nvPicPr>
          <p:cNvPr id="22" name="Immagine 21" descr="Immagine che contiene elettrodomestico da cucina, Elettrodomestico, stoviglie, elettrodomestico&#10;&#10;Descrizione generata automaticamente">
            <a:extLst>
              <a:ext uri="{FF2B5EF4-FFF2-40B4-BE49-F238E27FC236}">
                <a16:creationId xmlns:a16="http://schemas.microsoft.com/office/drawing/2014/main" id="{ABF37E40-AFD8-54B1-E9AA-283FAD5DB2C7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8628" y="2034132"/>
            <a:ext cx="770236" cy="1262552"/>
          </a:xfrm>
          <a:prstGeom prst="rect">
            <a:avLst/>
          </a:prstGeom>
        </p:spPr>
      </p:pic>
      <p:grpSp>
        <p:nvGrpSpPr>
          <p:cNvPr id="35" name="Gruppo 34">
            <a:extLst>
              <a:ext uri="{FF2B5EF4-FFF2-40B4-BE49-F238E27FC236}">
                <a16:creationId xmlns:a16="http://schemas.microsoft.com/office/drawing/2014/main" id="{38A1C9B5-2C06-D0E9-0B61-53928A16A69E}"/>
              </a:ext>
            </a:extLst>
          </p:cNvPr>
          <p:cNvGrpSpPr/>
          <p:nvPr/>
        </p:nvGrpSpPr>
        <p:grpSpPr>
          <a:xfrm>
            <a:off x="728197" y="3126559"/>
            <a:ext cx="496523" cy="563770"/>
            <a:chOff x="10293917" y="3033720"/>
            <a:chExt cx="1580451" cy="1794500"/>
          </a:xfrm>
        </p:grpSpPr>
        <p:grpSp>
          <p:nvGrpSpPr>
            <p:cNvPr id="36" name="Gruppo 35">
              <a:extLst>
                <a:ext uri="{FF2B5EF4-FFF2-40B4-BE49-F238E27FC236}">
                  <a16:creationId xmlns:a16="http://schemas.microsoft.com/office/drawing/2014/main" id="{55C56236-65EA-8C99-E03D-284C385EF094}"/>
                </a:ext>
              </a:extLst>
            </p:cNvPr>
            <p:cNvGrpSpPr/>
            <p:nvPr/>
          </p:nvGrpSpPr>
          <p:grpSpPr>
            <a:xfrm>
              <a:off x="10462071" y="3829998"/>
              <a:ext cx="1412297" cy="998222"/>
              <a:chOff x="3797626" y="2642162"/>
              <a:chExt cx="753811" cy="532799"/>
            </a:xfrm>
          </p:grpSpPr>
          <p:pic>
            <p:nvPicPr>
              <p:cNvPr id="78" name="Immagine 77">
                <a:extLst>
                  <a:ext uri="{FF2B5EF4-FFF2-40B4-BE49-F238E27FC236}">
                    <a16:creationId xmlns:a16="http://schemas.microsoft.com/office/drawing/2014/main" id="{FD026C70-4854-6C09-8D2A-68A94D8E50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81" name="Immagine 80">
                <a:extLst>
                  <a:ext uri="{FF2B5EF4-FFF2-40B4-BE49-F238E27FC236}">
                    <a16:creationId xmlns:a16="http://schemas.microsoft.com/office/drawing/2014/main" id="{E5E2E2A4-8E17-1EBE-2134-AE71605277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  <p:pic>
          <p:nvPicPr>
            <p:cNvPr id="37" name="Immagine 36">
              <a:extLst>
                <a:ext uri="{FF2B5EF4-FFF2-40B4-BE49-F238E27FC236}">
                  <a16:creationId xmlns:a16="http://schemas.microsoft.com/office/drawing/2014/main" id="{C36D3814-7EA9-3490-9D4B-881B637B6F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879609" flipH="1">
              <a:off x="10293917" y="3613435"/>
              <a:ext cx="657319" cy="403557"/>
            </a:xfrm>
            <a:prstGeom prst="rect">
              <a:avLst/>
            </a:prstGeom>
          </p:spPr>
        </p:pic>
        <p:pic>
          <p:nvPicPr>
            <p:cNvPr id="40" name="Immagine 39">
              <a:extLst>
                <a:ext uri="{FF2B5EF4-FFF2-40B4-BE49-F238E27FC236}">
                  <a16:creationId xmlns:a16="http://schemas.microsoft.com/office/drawing/2014/main" id="{5FD44742-BCA5-0857-56E8-73ABDEBD84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132877">
              <a:off x="10868290" y="3129239"/>
              <a:ext cx="625814" cy="434776"/>
            </a:xfrm>
            <a:prstGeom prst="rect">
              <a:avLst/>
            </a:prstGeom>
          </p:spPr>
        </p:pic>
        <p:pic>
          <p:nvPicPr>
            <p:cNvPr id="43" name="Immagine 42">
              <a:extLst>
                <a:ext uri="{FF2B5EF4-FFF2-40B4-BE49-F238E27FC236}">
                  <a16:creationId xmlns:a16="http://schemas.microsoft.com/office/drawing/2014/main" id="{7E25BBBB-1576-56BC-3936-0410441AA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546738">
              <a:off x="11145411" y="3478167"/>
              <a:ext cx="552313" cy="302286"/>
            </a:xfrm>
            <a:prstGeom prst="rect">
              <a:avLst/>
            </a:prstGeom>
          </p:spPr>
        </p:pic>
      </p:grpSp>
      <p:grpSp>
        <p:nvGrpSpPr>
          <p:cNvPr id="91" name="Gruppo 90">
            <a:extLst>
              <a:ext uri="{FF2B5EF4-FFF2-40B4-BE49-F238E27FC236}">
                <a16:creationId xmlns:a16="http://schemas.microsoft.com/office/drawing/2014/main" id="{D3D2B957-995F-C076-7162-7FAF2C6D1F1D}"/>
              </a:ext>
            </a:extLst>
          </p:cNvPr>
          <p:cNvGrpSpPr/>
          <p:nvPr/>
        </p:nvGrpSpPr>
        <p:grpSpPr>
          <a:xfrm>
            <a:off x="702365" y="5123012"/>
            <a:ext cx="545939" cy="619879"/>
            <a:chOff x="10293917" y="3033720"/>
            <a:chExt cx="1580451" cy="1794500"/>
          </a:xfrm>
        </p:grpSpPr>
        <p:grpSp>
          <p:nvGrpSpPr>
            <p:cNvPr id="95" name="Gruppo 94">
              <a:extLst>
                <a:ext uri="{FF2B5EF4-FFF2-40B4-BE49-F238E27FC236}">
                  <a16:creationId xmlns:a16="http://schemas.microsoft.com/office/drawing/2014/main" id="{39857E70-5D34-CB60-EBAE-5BB4384C85E5}"/>
                </a:ext>
              </a:extLst>
            </p:cNvPr>
            <p:cNvGrpSpPr/>
            <p:nvPr/>
          </p:nvGrpSpPr>
          <p:grpSpPr>
            <a:xfrm>
              <a:off x="10462071" y="3829998"/>
              <a:ext cx="1412297" cy="998222"/>
              <a:chOff x="3797626" y="2642162"/>
              <a:chExt cx="753811" cy="532799"/>
            </a:xfrm>
          </p:grpSpPr>
          <p:pic>
            <p:nvPicPr>
              <p:cNvPr id="111" name="Immagine 110">
                <a:extLst>
                  <a:ext uri="{FF2B5EF4-FFF2-40B4-BE49-F238E27FC236}">
                    <a16:creationId xmlns:a16="http://schemas.microsoft.com/office/drawing/2014/main" id="{7128E6FF-C380-80B4-17DB-CA31AFA69D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148" name="Immagine 147">
                <a:extLst>
                  <a:ext uri="{FF2B5EF4-FFF2-40B4-BE49-F238E27FC236}">
                    <a16:creationId xmlns:a16="http://schemas.microsoft.com/office/drawing/2014/main" id="{8E8CD10F-1B94-CC47-B60B-C1FDDC0FD5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  <p:pic>
          <p:nvPicPr>
            <p:cNvPr id="98" name="Immagine 97">
              <a:extLst>
                <a:ext uri="{FF2B5EF4-FFF2-40B4-BE49-F238E27FC236}">
                  <a16:creationId xmlns:a16="http://schemas.microsoft.com/office/drawing/2014/main" id="{85F9FEBD-90BA-01F8-28A1-CAECF89C5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879609" flipH="1">
              <a:off x="10293917" y="3613435"/>
              <a:ext cx="657319" cy="403557"/>
            </a:xfrm>
            <a:prstGeom prst="rect">
              <a:avLst/>
            </a:prstGeom>
          </p:spPr>
        </p:pic>
        <p:pic>
          <p:nvPicPr>
            <p:cNvPr id="101" name="Immagine 100">
              <a:extLst>
                <a:ext uri="{FF2B5EF4-FFF2-40B4-BE49-F238E27FC236}">
                  <a16:creationId xmlns:a16="http://schemas.microsoft.com/office/drawing/2014/main" id="{8E5BFC3A-A1C3-97FA-67B7-3634548AF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132877">
              <a:off x="10868290" y="3129239"/>
              <a:ext cx="625814" cy="434776"/>
            </a:xfrm>
            <a:prstGeom prst="rect">
              <a:avLst/>
            </a:prstGeom>
          </p:spPr>
        </p:pic>
        <p:pic>
          <p:nvPicPr>
            <p:cNvPr id="106" name="Immagine 105">
              <a:extLst>
                <a:ext uri="{FF2B5EF4-FFF2-40B4-BE49-F238E27FC236}">
                  <a16:creationId xmlns:a16="http://schemas.microsoft.com/office/drawing/2014/main" id="{E59A65CF-AC69-BFF4-044B-D83A442A2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546738">
              <a:off x="11145411" y="3478167"/>
              <a:ext cx="552313" cy="302286"/>
            </a:xfrm>
            <a:prstGeom prst="rect">
              <a:avLst/>
            </a:prstGeom>
          </p:spPr>
        </p:pic>
      </p:grpSp>
      <p:grpSp>
        <p:nvGrpSpPr>
          <p:cNvPr id="149" name="Gruppo 148">
            <a:extLst>
              <a:ext uri="{FF2B5EF4-FFF2-40B4-BE49-F238E27FC236}">
                <a16:creationId xmlns:a16="http://schemas.microsoft.com/office/drawing/2014/main" id="{3E476537-CA50-F05B-8A25-463EB328BCD3}"/>
              </a:ext>
            </a:extLst>
          </p:cNvPr>
          <p:cNvGrpSpPr/>
          <p:nvPr/>
        </p:nvGrpSpPr>
        <p:grpSpPr>
          <a:xfrm>
            <a:off x="8378108" y="3055700"/>
            <a:ext cx="601564" cy="610640"/>
            <a:chOff x="2920156" y="2588375"/>
            <a:chExt cx="917738" cy="931584"/>
          </a:xfrm>
        </p:grpSpPr>
        <p:grpSp>
          <p:nvGrpSpPr>
            <p:cNvPr id="150" name="Gruppo 149">
              <a:extLst>
                <a:ext uri="{FF2B5EF4-FFF2-40B4-BE49-F238E27FC236}">
                  <a16:creationId xmlns:a16="http://schemas.microsoft.com/office/drawing/2014/main" id="{C654CFD2-75F2-5FF5-EC8A-5B3C7D6872DE}"/>
                </a:ext>
              </a:extLst>
            </p:cNvPr>
            <p:cNvGrpSpPr/>
            <p:nvPr/>
          </p:nvGrpSpPr>
          <p:grpSpPr>
            <a:xfrm>
              <a:off x="2920156" y="2588375"/>
              <a:ext cx="917738" cy="931584"/>
              <a:chOff x="5060576" y="2644756"/>
              <a:chExt cx="1538824" cy="1583794"/>
            </a:xfrm>
          </p:grpSpPr>
          <p:pic>
            <p:nvPicPr>
              <p:cNvPr id="152" name="Immagine 151">
                <a:extLst>
                  <a:ext uri="{FF2B5EF4-FFF2-40B4-BE49-F238E27FC236}">
                    <a16:creationId xmlns:a16="http://schemas.microsoft.com/office/drawing/2014/main" id="{E38BEC94-E0C0-0F82-FE92-50335BF70C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8546698">
                <a:off x="5698319" y="2749899"/>
                <a:ext cx="688865" cy="478580"/>
              </a:xfrm>
              <a:prstGeom prst="rect">
                <a:avLst/>
              </a:prstGeom>
            </p:spPr>
          </p:pic>
          <p:grpSp>
            <p:nvGrpSpPr>
              <p:cNvPr id="153" name="Gruppo 152">
                <a:extLst>
                  <a:ext uri="{FF2B5EF4-FFF2-40B4-BE49-F238E27FC236}">
                    <a16:creationId xmlns:a16="http://schemas.microsoft.com/office/drawing/2014/main" id="{63160373-8473-380A-3D5C-4ADF14C73297}"/>
                  </a:ext>
                </a:extLst>
              </p:cNvPr>
              <p:cNvGrpSpPr/>
              <p:nvPr/>
            </p:nvGrpSpPr>
            <p:grpSpPr>
              <a:xfrm>
                <a:off x="5124572" y="3154220"/>
                <a:ext cx="1474828" cy="1074330"/>
                <a:chOff x="5229147" y="3268792"/>
                <a:chExt cx="901561" cy="656737"/>
              </a:xfrm>
            </p:grpSpPr>
            <p:grpSp>
              <p:nvGrpSpPr>
                <p:cNvPr id="155" name="Gruppo 154">
                  <a:extLst>
                    <a:ext uri="{FF2B5EF4-FFF2-40B4-BE49-F238E27FC236}">
                      <a16:creationId xmlns:a16="http://schemas.microsoft.com/office/drawing/2014/main" id="{9CB9F6CA-D39D-F8D8-30C1-794071118F62}"/>
                    </a:ext>
                  </a:extLst>
                </p:cNvPr>
                <p:cNvGrpSpPr/>
                <p:nvPr/>
              </p:nvGrpSpPr>
              <p:grpSpPr>
                <a:xfrm>
                  <a:off x="5320899" y="3371790"/>
                  <a:ext cx="809809" cy="553739"/>
                  <a:chOff x="11994" y="205378"/>
                  <a:chExt cx="686834" cy="461711"/>
                </a:xfrm>
              </p:grpSpPr>
              <p:pic>
                <p:nvPicPr>
                  <p:cNvPr id="157" name="Immagine 156">
                    <a:extLst>
                      <a:ext uri="{FF2B5EF4-FFF2-40B4-BE49-F238E27FC236}">
                        <a16:creationId xmlns:a16="http://schemas.microsoft.com/office/drawing/2014/main" id="{571C649E-FF29-1638-FBA8-C8341DB6AEA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0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40384" y="205378"/>
                    <a:ext cx="458444" cy="445707"/>
                  </a:xfrm>
                  <a:prstGeom prst="rect">
                    <a:avLst/>
                  </a:prstGeom>
                </p:spPr>
              </p:pic>
              <p:pic>
                <p:nvPicPr>
                  <p:cNvPr id="158" name="Immagine 157">
                    <a:extLst>
                      <a:ext uri="{FF2B5EF4-FFF2-40B4-BE49-F238E27FC236}">
                        <a16:creationId xmlns:a16="http://schemas.microsoft.com/office/drawing/2014/main" id="{36CA7A99-4853-162A-0664-382AD363380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1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1994" y="555401"/>
                    <a:ext cx="267311" cy="11168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156" name="Immagine 155">
                  <a:extLst>
                    <a:ext uri="{FF2B5EF4-FFF2-40B4-BE49-F238E27FC236}">
                      <a16:creationId xmlns:a16="http://schemas.microsoft.com/office/drawing/2014/main" id="{AEB056BD-5A3C-B47D-63E9-4B123DAED1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20790483" flipH="1">
                  <a:off x="5229147" y="3268792"/>
                  <a:ext cx="372535" cy="313243"/>
                </a:xfrm>
                <a:prstGeom prst="rect">
                  <a:avLst/>
                </a:prstGeom>
              </p:spPr>
            </p:pic>
          </p:grpSp>
          <p:pic>
            <p:nvPicPr>
              <p:cNvPr id="154" name="Immagine 153">
                <a:extLst>
                  <a:ext uri="{FF2B5EF4-FFF2-40B4-BE49-F238E27FC236}">
                    <a16:creationId xmlns:a16="http://schemas.microsoft.com/office/drawing/2014/main" id="{16932AFB-BD99-8F94-7A7F-39D08F496B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131801" flipH="1">
                <a:off x="5060576" y="3215018"/>
                <a:ext cx="703888" cy="383684"/>
              </a:xfrm>
              <a:prstGeom prst="rect">
                <a:avLst/>
              </a:prstGeom>
            </p:spPr>
          </p:pic>
        </p:grpSp>
        <p:pic>
          <p:nvPicPr>
            <p:cNvPr id="151" name="Immagine 150">
              <a:extLst>
                <a:ext uri="{FF2B5EF4-FFF2-40B4-BE49-F238E27FC236}">
                  <a16:creationId xmlns:a16="http://schemas.microsoft.com/office/drawing/2014/main" id="{32C964CC-90D1-E95C-2481-8A7E804EBA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452222">
              <a:off x="3436350" y="2826242"/>
              <a:ext cx="317194" cy="173603"/>
            </a:xfrm>
            <a:prstGeom prst="rect">
              <a:avLst/>
            </a:prstGeom>
          </p:spPr>
        </p:pic>
      </p:grpSp>
      <p:grpSp>
        <p:nvGrpSpPr>
          <p:cNvPr id="159" name="Gruppo 158">
            <a:extLst>
              <a:ext uri="{FF2B5EF4-FFF2-40B4-BE49-F238E27FC236}">
                <a16:creationId xmlns:a16="http://schemas.microsoft.com/office/drawing/2014/main" id="{42540A1D-FF0A-E870-4245-516FA7345E39}"/>
              </a:ext>
            </a:extLst>
          </p:cNvPr>
          <p:cNvGrpSpPr/>
          <p:nvPr/>
        </p:nvGrpSpPr>
        <p:grpSpPr>
          <a:xfrm>
            <a:off x="8323558" y="4985817"/>
            <a:ext cx="625380" cy="634815"/>
            <a:chOff x="2920156" y="2588375"/>
            <a:chExt cx="917738" cy="931584"/>
          </a:xfrm>
        </p:grpSpPr>
        <p:grpSp>
          <p:nvGrpSpPr>
            <p:cNvPr id="160" name="Gruppo 159">
              <a:extLst>
                <a:ext uri="{FF2B5EF4-FFF2-40B4-BE49-F238E27FC236}">
                  <a16:creationId xmlns:a16="http://schemas.microsoft.com/office/drawing/2014/main" id="{49D62298-A9A7-9B83-64F1-02A5E808CCBD}"/>
                </a:ext>
              </a:extLst>
            </p:cNvPr>
            <p:cNvGrpSpPr/>
            <p:nvPr/>
          </p:nvGrpSpPr>
          <p:grpSpPr>
            <a:xfrm>
              <a:off x="2920156" y="2588375"/>
              <a:ext cx="917738" cy="931584"/>
              <a:chOff x="5060576" y="2644756"/>
              <a:chExt cx="1538824" cy="1583794"/>
            </a:xfrm>
          </p:grpSpPr>
          <p:pic>
            <p:nvPicPr>
              <p:cNvPr id="162" name="Immagine 161">
                <a:extLst>
                  <a:ext uri="{FF2B5EF4-FFF2-40B4-BE49-F238E27FC236}">
                    <a16:creationId xmlns:a16="http://schemas.microsoft.com/office/drawing/2014/main" id="{1FFEC7F4-2886-83E9-4A5D-42113921A4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8546698">
                <a:off x="5698319" y="2749899"/>
                <a:ext cx="688865" cy="478580"/>
              </a:xfrm>
              <a:prstGeom prst="rect">
                <a:avLst/>
              </a:prstGeom>
            </p:spPr>
          </p:pic>
          <p:grpSp>
            <p:nvGrpSpPr>
              <p:cNvPr id="163" name="Gruppo 162">
                <a:extLst>
                  <a:ext uri="{FF2B5EF4-FFF2-40B4-BE49-F238E27FC236}">
                    <a16:creationId xmlns:a16="http://schemas.microsoft.com/office/drawing/2014/main" id="{A4ED76FB-7C0A-3F93-D172-EC8FE22569D1}"/>
                  </a:ext>
                </a:extLst>
              </p:cNvPr>
              <p:cNvGrpSpPr/>
              <p:nvPr/>
            </p:nvGrpSpPr>
            <p:grpSpPr>
              <a:xfrm>
                <a:off x="5124572" y="3154220"/>
                <a:ext cx="1474828" cy="1074330"/>
                <a:chOff x="5229147" y="3268792"/>
                <a:chExt cx="901561" cy="656737"/>
              </a:xfrm>
            </p:grpSpPr>
            <p:grpSp>
              <p:nvGrpSpPr>
                <p:cNvPr id="165" name="Gruppo 164">
                  <a:extLst>
                    <a:ext uri="{FF2B5EF4-FFF2-40B4-BE49-F238E27FC236}">
                      <a16:creationId xmlns:a16="http://schemas.microsoft.com/office/drawing/2014/main" id="{24F00E9F-A62C-09FE-FF92-8E93F3A13F55}"/>
                    </a:ext>
                  </a:extLst>
                </p:cNvPr>
                <p:cNvGrpSpPr/>
                <p:nvPr/>
              </p:nvGrpSpPr>
              <p:grpSpPr>
                <a:xfrm>
                  <a:off x="5320899" y="3371790"/>
                  <a:ext cx="809809" cy="553739"/>
                  <a:chOff x="11994" y="205378"/>
                  <a:chExt cx="686834" cy="461711"/>
                </a:xfrm>
              </p:grpSpPr>
              <p:pic>
                <p:nvPicPr>
                  <p:cNvPr id="167" name="Immagine 166">
                    <a:extLst>
                      <a:ext uri="{FF2B5EF4-FFF2-40B4-BE49-F238E27FC236}">
                        <a16:creationId xmlns:a16="http://schemas.microsoft.com/office/drawing/2014/main" id="{504F1637-AB08-ED37-FC94-7C60DFDD365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6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40384" y="205378"/>
                    <a:ext cx="458444" cy="445707"/>
                  </a:xfrm>
                  <a:prstGeom prst="rect">
                    <a:avLst/>
                  </a:prstGeom>
                </p:spPr>
              </p:pic>
              <p:pic>
                <p:nvPicPr>
                  <p:cNvPr id="168" name="Immagine 167">
                    <a:extLst>
                      <a:ext uri="{FF2B5EF4-FFF2-40B4-BE49-F238E27FC236}">
                        <a16:creationId xmlns:a16="http://schemas.microsoft.com/office/drawing/2014/main" id="{C189F592-AEF6-455B-6C12-8708CF0EC08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7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1994" y="555401"/>
                    <a:ext cx="267311" cy="11168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166" name="Immagine 165">
                  <a:extLst>
                    <a:ext uri="{FF2B5EF4-FFF2-40B4-BE49-F238E27FC236}">
                      <a16:creationId xmlns:a16="http://schemas.microsoft.com/office/drawing/2014/main" id="{B1940153-9760-E280-54CC-89C306F010B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8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20790483" flipH="1">
                  <a:off x="5229147" y="3268792"/>
                  <a:ext cx="372535" cy="313243"/>
                </a:xfrm>
                <a:prstGeom prst="rect">
                  <a:avLst/>
                </a:prstGeom>
              </p:spPr>
            </p:pic>
          </p:grpSp>
          <p:pic>
            <p:nvPicPr>
              <p:cNvPr id="164" name="Immagine 163">
                <a:extLst>
                  <a:ext uri="{FF2B5EF4-FFF2-40B4-BE49-F238E27FC236}">
                    <a16:creationId xmlns:a16="http://schemas.microsoft.com/office/drawing/2014/main" id="{FD260081-DE02-F4A2-F3D3-7B97E671E6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131801" flipH="1">
                <a:off x="5060576" y="3215018"/>
                <a:ext cx="703888" cy="383684"/>
              </a:xfrm>
              <a:prstGeom prst="rect">
                <a:avLst/>
              </a:prstGeom>
            </p:spPr>
          </p:pic>
        </p:grpSp>
        <p:pic>
          <p:nvPicPr>
            <p:cNvPr id="161" name="Immagine 160">
              <a:extLst>
                <a:ext uri="{FF2B5EF4-FFF2-40B4-BE49-F238E27FC236}">
                  <a16:creationId xmlns:a16="http://schemas.microsoft.com/office/drawing/2014/main" id="{7E64EDC7-D8A6-6FD6-770A-810B8363D7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452222">
              <a:off x="3436350" y="2826242"/>
              <a:ext cx="317194" cy="173603"/>
            </a:xfrm>
            <a:prstGeom prst="rect">
              <a:avLst/>
            </a:prstGeom>
          </p:spPr>
        </p:pic>
      </p:grpSp>
      <p:pic>
        <p:nvPicPr>
          <p:cNvPr id="170" name="Immagine 169">
            <a:extLst>
              <a:ext uri="{FF2B5EF4-FFF2-40B4-BE49-F238E27FC236}">
                <a16:creationId xmlns:a16="http://schemas.microsoft.com/office/drawing/2014/main" id="{33C87E65-B22D-7240-87E7-FB4733FDB263}"/>
              </a:ext>
            </a:extLst>
          </p:cNvPr>
          <p:cNvPicPr>
            <a:picLocks noChangeAspect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2100" y="2027485"/>
            <a:ext cx="759830" cy="1204456"/>
          </a:xfrm>
          <a:prstGeom prst="rect">
            <a:avLst/>
          </a:prstGeom>
        </p:spPr>
      </p:pic>
      <p:sp>
        <p:nvSpPr>
          <p:cNvPr id="2" name="Title 13">
            <a:extLst>
              <a:ext uri="{FF2B5EF4-FFF2-40B4-BE49-F238E27FC236}">
                <a16:creationId xmlns:a16="http://schemas.microsoft.com/office/drawing/2014/main" id="{4A30FB51-869C-C29F-F988-581FA5B04B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49349" cy="388013"/>
          </a:xfrm>
        </p:spPr>
        <p:txBody>
          <a:bodyPr/>
          <a:lstStyle/>
          <a:p>
            <a:r>
              <a:rPr lang="en-US"/>
              <a:t>Mini IVS machine and accessories – suggested choice II</a:t>
            </a:r>
          </a:p>
        </p:txBody>
      </p:sp>
      <p:sp>
        <p:nvSpPr>
          <p:cNvPr id="13" name="CasellaDiTesto 88">
            <a:extLst>
              <a:ext uri="{FF2B5EF4-FFF2-40B4-BE49-F238E27FC236}">
                <a16:creationId xmlns:a16="http://schemas.microsoft.com/office/drawing/2014/main" id="{5B85C7A3-9593-0195-823E-558634587249}"/>
              </a:ext>
            </a:extLst>
          </p:cNvPr>
          <p:cNvSpPr txBox="1"/>
          <p:nvPr/>
        </p:nvSpPr>
        <p:spPr>
          <a:xfrm>
            <a:off x="2213459" y="4281046"/>
            <a:ext cx="127598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sz="800" b="1">
                <a:latin typeface="+mj-lt"/>
              </a:rPr>
              <a:t>VHS010 HC Z22 EXA</a:t>
            </a:r>
          </a:p>
          <a:p>
            <a:r>
              <a:rPr lang="it-IT" sz="800">
                <a:solidFill>
                  <a:schemeClr val="accent3"/>
                </a:solidFill>
              </a:rPr>
              <a:t>4010100116</a:t>
            </a:r>
            <a:endParaRPr lang="it-IT" sz="800" dirty="0">
              <a:solidFill>
                <a:schemeClr val="accent3"/>
              </a:solidFill>
            </a:endParaRPr>
          </a:p>
        </p:txBody>
      </p:sp>
      <p:sp>
        <p:nvSpPr>
          <p:cNvPr id="16" name="CasellaDiTesto 89">
            <a:extLst>
              <a:ext uri="{FF2B5EF4-FFF2-40B4-BE49-F238E27FC236}">
                <a16:creationId xmlns:a16="http://schemas.microsoft.com/office/drawing/2014/main" id="{2725E786-CAB3-550F-3718-7E3A03EE2BB1}"/>
              </a:ext>
            </a:extLst>
          </p:cNvPr>
          <p:cNvSpPr txBox="1"/>
          <p:nvPr/>
        </p:nvSpPr>
        <p:spPr>
          <a:xfrm>
            <a:off x="2209362" y="2227424"/>
            <a:ext cx="14145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800">
                <a:latin typeface="+mj-lt"/>
              </a:rPr>
              <a:t>VHS011 LC Z22 EXA</a:t>
            </a:r>
          </a:p>
          <a:p>
            <a:r>
              <a:rPr lang="it-IT" sz="800">
                <a:solidFill>
                  <a:schemeClr val="accent3"/>
                </a:solidFill>
              </a:rPr>
              <a:t>4010100113</a:t>
            </a:r>
            <a:r>
              <a:rPr lang="it-IT" sz="800"/>
              <a:t> </a:t>
            </a:r>
          </a:p>
        </p:txBody>
      </p:sp>
      <p:sp>
        <p:nvSpPr>
          <p:cNvPr id="17" name="CasellaDiTesto 114">
            <a:extLst>
              <a:ext uri="{FF2B5EF4-FFF2-40B4-BE49-F238E27FC236}">
                <a16:creationId xmlns:a16="http://schemas.microsoft.com/office/drawing/2014/main" id="{7CA1884D-3A5B-10D7-7DDD-2A049A3672D7}"/>
              </a:ext>
            </a:extLst>
          </p:cNvPr>
          <p:cNvSpPr txBox="1"/>
          <p:nvPr/>
        </p:nvSpPr>
        <p:spPr>
          <a:xfrm>
            <a:off x="1396847" y="3348398"/>
            <a:ext cx="1837636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Machine EXA</a:t>
            </a:r>
          </a:p>
          <a:p>
            <a:r>
              <a:rPr lang="it-IT" sz="700" b="0"/>
              <a:t>4072400823</a:t>
            </a:r>
          </a:p>
        </p:txBody>
      </p:sp>
      <p:sp>
        <p:nvSpPr>
          <p:cNvPr id="18" name="CasellaDiTesto 115">
            <a:extLst>
              <a:ext uri="{FF2B5EF4-FFF2-40B4-BE49-F238E27FC236}">
                <a16:creationId xmlns:a16="http://schemas.microsoft.com/office/drawing/2014/main" id="{901B60B5-57B3-4B8C-4E77-D7570445E0AF}"/>
              </a:ext>
            </a:extLst>
          </p:cNvPr>
          <p:cNvSpPr txBox="1"/>
          <p:nvPr/>
        </p:nvSpPr>
        <p:spPr>
          <a:xfrm>
            <a:off x="1410345" y="5389800"/>
            <a:ext cx="1806819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Machine EXA</a:t>
            </a:r>
          </a:p>
          <a:p>
            <a:r>
              <a:rPr lang="it-IT" sz="700" b="0"/>
              <a:t>4072400823</a:t>
            </a:r>
          </a:p>
        </p:txBody>
      </p:sp>
      <p:sp>
        <p:nvSpPr>
          <p:cNvPr id="20" name="CasellaDiTesto 107">
            <a:extLst>
              <a:ext uri="{FF2B5EF4-FFF2-40B4-BE49-F238E27FC236}">
                <a16:creationId xmlns:a16="http://schemas.microsoft.com/office/drawing/2014/main" id="{E62C9CFE-E1B0-80DA-07C3-396A35BBAD7A}"/>
              </a:ext>
            </a:extLst>
          </p:cNvPr>
          <p:cNvSpPr txBox="1"/>
          <p:nvPr/>
        </p:nvSpPr>
        <p:spPr>
          <a:xfrm>
            <a:off x="2118601" y="4536180"/>
            <a:ext cx="17788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 b="1">
                <a:latin typeface="+mj-lt"/>
              </a:defRPr>
            </a:lvl1pPr>
          </a:lstStyle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b="0" dirty="0">
                <a:latin typeface="+mn-lt"/>
              </a:rPr>
              <a:t>Safe dispos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b="0" dirty="0">
                <a:latin typeface="+mn-lt"/>
              </a:rPr>
              <a:t>Not contaminating env.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 b="0" dirty="0">
                <a:latin typeface="+mn-lt"/>
              </a:rPr>
              <a:t>Safe with conductive materials</a:t>
            </a:r>
          </a:p>
        </p:txBody>
      </p:sp>
      <p:sp>
        <p:nvSpPr>
          <p:cNvPr id="23" name="CasellaDiTesto 108">
            <a:extLst>
              <a:ext uri="{FF2B5EF4-FFF2-40B4-BE49-F238E27FC236}">
                <a16:creationId xmlns:a16="http://schemas.microsoft.com/office/drawing/2014/main" id="{84C15B01-63A7-5F8F-1B68-2C180EE7C050}"/>
              </a:ext>
            </a:extLst>
          </p:cNvPr>
          <p:cNvSpPr txBox="1"/>
          <p:nvPr/>
        </p:nvSpPr>
        <p:spPr>
          <a:xfrm>
            <a:off x="2110745" y="2502586"/>
            <a:ext cx="16729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High cleanability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Not contaminating env.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Safe with conductive materials</a:t>
            </a:r>
          </a:p>
        </p:txBody>
      </p:sp>
      <p:pic>
        <p:nvPicPr>
          <p:cNvPr id="24" name="Immagine 55">
            <a:extLst>
              <a:ext uri="{FF2B5EF4-FFF2-40B4-BE49-F238E27FC236}">
                <a16:creationId xmlns:a16="http://schemas.microsoft.com/office/drawing/2014/main" id="{D3E744BC-7B65-E9BA-20FF-F57EF940147A}"/>
              </a:ext>
            </a:extLst>
          </p:cNvPr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154" y="2192480"/>
            <a:ext cx="264343" cy="214516"/>
          </a:xfrm>
          <a:prstGeom prst="rect">
            <a:avLst/>
          </a:prstGeom>
        </p:spPr>
      </p:pic>
      <p:pic>
        <p:nvPicPr>
          <p:cNvPr id="25" name="Immagine 105">
            <a:extLst>
              <a:ext uri="{FF2B5EF4-FFF2-40B4-BE49-F238E27FC236}">
                <a16:creationId xmlns:a16="http://schemas.microsoft.com/office/drawing/2014/main" id="{C3F8E3D0-50CB-205A-3DC6-315338F29504}"/>
              </a:ext>
            </a:extLst>
          </p:cNvPr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331" y="2492129"/>
            <a:ext cx="487175" cy="190443"/>
          </a:xfrm>
          <a:prstGeom prst="rect">
            <a:avLst/>
          </a:prstGeom>
        </p:spPr>
      </p:pic>
      <p:pic>
        <p:nvPicPr>
          <p:cNvPr id="26" name="Immagine 55">
            <a:extLst>
              <a:ext uri="{FF2B5EF4-FFF2-40B4-BE49-F238E27FC236}">
                <a16:creationId xmlns:a16="http://schemas.microsoft.com/office/drawing/2014/main" id="{DDE54F7D-A7B8-4858-0302-6B6AE2F75B04}"/>
              </a:ext>
            </a:extLst>
          </p:cNvPr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154" y="4219773"/>
            <a:ext cx="264343" cy="214516"/>
          </a:xfrm>
          <a:prstGeom prst="rect">
            <a:avLst/>
          </a:prstGeom>
        </p:spPr>
      </p:pic>
      <p:sp>
        <p:nvSpPr>
          <p:cNvPr id="27" name="CasellaDiTesto 90">
            <a:extLst>
              <a:ext uri="{FF2B5EF4-FFF2-40B4-BE49-F238E27FC236}">
                <a16:creationId xmlns:a16="http://schemas.microsoft.com/office/drawing/2014/main" id="{10CFC0E9-C947-71DC-CD10-75EE8E6441F3}"/>
              </a:ext>
            </a:extLst>
          </p:cNvPr>
          <p:cNvSpPr txBox="1"/>
          <p:nvPr/>
        </p:nvSpPr>
        <p:spPr>
          <a:xfrm>
            <a:off x="6060404" y="4281046"/>
            <a:ext cx="127598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sz="800">
                <a:latin typeface="+mj-lt"/>
              </a:rPr>
              <a:t>VHS011 LC ACD</a:t>
            </a:r>
          </a:p>
          <a:p>
            <a:r>
              <a:rPr lang="it-IT" sz="800">
                <a:solidFill>
                  <a:schemeClr val="accent3"/>
                </a:solidFill>
              </a:rPr>
              <a:t>4010100120</a:t>
            </a:r>
          </a:p>
          <a:p>
            <a:pPr algn="l"/>
            <a:endParaRPr lang="it-IT" sz="800" dirty="0"/>
          </a:p>
        </p:txBody>
      </p:sp>
      <p:sp>
        <p:nvSpPr>
          <p:cNvPr id="28" name="CasellaDiTesto 91">
            <a:extLst>
              <a:ext uri="{FF2B5EF4-FFF2-40B4-BE49-F238E27FC236}">
                <a16:creationId xmlns:a16="http://schemas.microsoft.com/office/drawing/2014/main" id="{EA50DAE5-AC13-4429-2612-9E99F396DDC6}"/>
              </a:ext>
            </a:extLst>
          </p:cNvPr>
          <p:cNvSpPr txBox="1"/>
          <p:nvPr/>
        </p:nvSpPr>
        <p:spPr>
          <a:xfrm>
            <a:off x="6064589" y="2227424"/>
            <a:ext cx="14145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it-IT" sz="800">
                <a:latin typeface="+mj-lt"/>
              </a:rPr>
              <a:t>VHS010 LC ACD</a:t>
            </a:r>
          </a:p>
          <a:p>
            <a:r>
              <a:rPr lang="it-IT" sz="800">
                <a:solidFill>
                  <a:schemeClr val="accent3"/>
                </a:solidFill>
              </a:rPr>
              <a:t>4010100122</a:t>
            </a:r>
          </a:p>
          <a:p>
            <a:r>
              <a:rPr lang="it-IT" sz="800"/>
              <a:t> </a:t>
            </a:r>
            <a:endParaRPr lang="it-IT" sz="800" dirty="0"/>
          </a:p>
        </p:txBody>
      </p:sp>
      <p:sp>
        <p:nvSpPr>
          <p:cNvPr id="29" name="CasellaDiTesto 116">
            <a:extLst>
              <a:ext uri="{FF2B5EF4-FFF2-40B4-BE49-F238E27FC236}">
                <a16:creationId xmlns:a16="http://schemas.microsoft.com/office/drawing/2014/main" id="{7E0E92F6-3F45-27E8-9A66-5D55DAEE0967}"/>
              </a:ext>
            </a:extLst>
          </p:cNvPr>
          <p:cNvSpPr txBox="1"/>
          <p:nvPr/>
        </p:nvSpPr>
        <p:spPr>
          <a:xfrm>
            <a:off x="5210503" y="5363526"/>
            <a:ext cx="163158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Basic ACD</a:t>
            </a:r>
          </a:p>
          <a:p>
            <a:r>
              <a:rPr lang="it-IT" sz="700" b="0"/>
              <a:t>4072400825</a:t>
            </a:r>
          </a:p>
          <a:p>
            <a:endParaRPr lang="it-IT" sz="700" b="0"/>
          </a:p>
        </p:txBody>
      </p:sp>
      <p:sp>
        <p:nvSpPr>
          <p:cNvPr id="30" name="CasellaDiTesto 117">
            <a:extLst>
              <a:ext uri="{FF2B5EF4-FFF2-40B4-BE49-F238E27FC236}">
                <a16:creationId xmlns:a16="http://schemas.microsoft.com/office/drawing/2014/main" id="{937BB575-9897-0A47-A083-C2980AA208D8}"/>
              </a:ext>
            </a:extLst>
          </p:cNvPr>
          <p:cNvSpPr txBox="1"/>
          <p:nvPr/>
        </p:nvSpPr>
        <p:spPr>
          <a:xfrm>
            <a:off x="5220952" y="3368587"/>
            <a:ext cx="163158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Basic ACD</a:t>
            </a:r>
          </a:p>
          <a:p>
            <a:r>
              <a:rPr lang="it-IT" sz="700" b="0"/>
              <a:t>4072400825</a:t>
            </a:r>
          </a:p>
          <a:p>
            <a:endParaRPr lang="it-IT" sz="700" b="0"/>
          </a:p>
        </p:txBody>
      </p:sp>
      <p:sp>
        <p:nvSpPr>
          <p:cNvPr id="31" name="CasellaDiTesto 109">
            <a:extLst>
              <a:ext uri="{FF2B5EF4-FFF2-40B4-BE49-F238E27FC236}">
                <a16:creationId xmlns:a16="http://schemas.microsoft.com/office/drawing/2014/main" id="{4E9B163F-C363-9FED-A565-C358F0895C0C}"/>
              </a:ext>
            </a:extLst>
          </p:cNvPr>
          <p:cNvSpPr txBox="1"/>
          <p:nvPr/>
        </p:nvSpPr>
        <p:spPr>
          <a:xfrm>
            <a:off x="5993866" y="4536180"/>
            <a:ext cx="168939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 b="0"/>
            </a:lvl1pPr>
          </a:lstStyle>
          <a:p>
            <a:r>
              <a:rPr lang="en-US" sz="800"/>
              <a:t>The most robust, compact and lightest industrial vac, with high performance filtration without consumable for high powder load</a:t>
            </a:r>
          </a:p>
        </p:txBody>
      </p:sp>
      <p:sp>
        <p:nvSpPr>
          <p:cNvPr id="32" name="CasellaDiTesto 110">
            <a:extLst>
              <a:ext uri="{FF2B5EF4-FFF2-40B4-BE49-F238E27FC236}">
                <a16:creationId xmlns:a16="http://schemas.microsoft.com/office/drawing/2014/main" id="{8AB6D53A-C371-5CAF-C095-ECE3D1D1CCEA}"/>
              </a:ext>
            </a:extLst>
          </p:cNvPr>
          <p:cNvSpPr txBox="1"/>
          <p:nvPr/>
        </p:nvSpPr>
        <p:spPr>
          <a:xfrm>
            <a:off x="5983657" y="2502586"/>
            <a:ext cx="147754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en-US" sz="800"/>
              <a:t>The most robust, compact and lightest industrial vac, with affordable, scalable, safe disposal options</a:t>
            </a:r>
          </a:p>
        </p:txBody>
      </p:sp>
      <p:sp>
        <p:nvSpPr>
          <p:cNvPr id="33" name="CasellaDiTesto 93">
            <a:extLst>
              <a:ext uri="{FF2B5EF4-FFF2-40B4-BE49-F238E27FC236}">
                <a16:creationId xmlns:a16="http://schemas.microsoft.com/office/drawing/2014/main" id="{8A932BA6-AE75-9171-BF16-17ECBD1F936B}"/>
              </a:ext>
            </a:extLst>
          </p:cNvPr>
          <p:cNvSpPr txBox="1"/>
          <p:nvPr/>
        </p:nvSpPr>
        <p:spPr>
          <a:xfrm>
            <a:off x="9972773" y="4281046"/>
            <a:ext cx="127598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l-PL" sz="800" b="1">
                <a:latin typeface="+mj-lt"/>
              </a:rPr>
              <a:t>VHS010 HC Z22 EXA 3X</a:t>
            </a:r>
          </a:p>
          <a:p>
            <a:r>
              <a:rPr lang="it-IT" sz="800">
                <a:solidFill>
                  <a:schemeClr val="accent3"/>
                </a:solidFill>
              </a:rPr>
              <a:t>TBD** </a:t>
            </a:r>
            <a:endParaRPr lang="it-IT" sz="800" b="1" dirty="0">
              <a:solidFill>
                <a:schemeClr val="accent3"/>
              </a:solidFill>
            </a:endParaRPr>
          </a:p>
        </p:txBody>
      </p:sp>
      <p:sp>
        <p:nvSpPr>
          <p:cNvPr id="34" name="CasellaDiTesto 94">
            <a:extLst>
              <a:ext uri="{FF2B5EF4-FFF2-40B4-BE49-F238E27FC236}">
                <a16:creationId xmlns:a16="http://schemas.microsoft.com/office/drawing/2014/main" id="{24D89D7D-05EA-AB45-82B3-C95D29D40DD4}"/>
              </a:ext>
            </a:extLst>
          </p:cNvPr>
          <p:cNvSpPr txBox="1"/>
          <p:nvPr/>
        </p:nvSpPr>
        <p:spPr>
          <a:xfrm>
            <a:off x="10013723" y="2227424"/>
            <a:ext cx="141451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800">
                <a:latin typeface="+mj-lt"/>
              </a:rPr>
              <a:t>VHS011 LC Z22 EXA 3X AU</a:t>
            </a:r>
          </a:p>
          <a:p>
            <a:r>
              <a:rPr lang="it-IT" sz="800">
                <a:solidFill>
                  <a:schemeClr val="accent3"/>
                </a:solidFill>
              </a:rPr>
              <a:t>TBD** </a:t>
            </a:r>
            <a:endParaRPr lang="it-IT" sz="800" b="1" dirty="0">
              <a:solidFill>
                <a:schemeClr val="accent3"/>
              </a:solidFill>
            </a:endParaRPr>
          </a:p>
        </p:txBody>
      </p:sp>
      <p:sp>
        <p:nvSpPr>
          <p:cNvPr id="44" name="CasellaDiTesto 118">
            <a:extLst>
              <a:ext uri="{FF2B5EF4-FFF2-40B4-BE49-F238E27FC236}">
                <a16:creationId xmlns:a16="http://schemas.microsoft.com/office/drawing/2014/main" id="{FE8F4C17-896A-66CA-5C32-A3FCB3697FA0}"/>
              </a:ext>
            </a:extLst>
          </p:cNvPr>
          <p:cNvSpPr txBox="1"/>
          <p:nvPr/>
        </p:nvSpPr>
        <p:spPr>
          <a:xfrm>
            <a:off x="9132217" y="3368587"/>
            <a:ext cx="1975269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FDA Machine EXA</a:t>
            </a:r>
          </a:p>
          <a:p>
            <a:r>
              <a:rPr lang="it-IT" sz="700" b="0"/>
              <a:t>4072400822</a:t>
            </a:r>
          </a:p>
        </p:txBody>
      </p:sp>
      <p:sp>
        <p:nvSpPr>
          <p:cNvPr id="45" name="CasellaDiTesto 119">
            <a:extLst>
              <a:ext uri="{FF2B5EF4-FFF2-40B4-BE49-F238E27FC236}">
                <a16:creationId xmlns:a16="http://schemas.microsoft.com/office/drawing/2014/main" id="{C00F38CE-2B79-7845-772F-FF3CB2EEFDE1}"/>
              </a:ext>
            </a:extLst>
          </p:cNvPr>
          <p:cNvSpPr txBox="1"/>
          <p:nvPr/>
        </p:nvSpPr>
        <p:spPr>
          <a:xfrm>
            <a:off x="9142452" y="5389800"/>
            <a:ext cx="2029929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800" b="1"/>
            </a:lvl1pPr>
          </a:lstStyle>
          <a:p>
            <a:r>
              <a:rPr lang="it-IT" b="0"/>
              <a:t>Accessories KIT  FDA Machie ACD</a:t>
            </a:r>
          </a:p>
          <a:p>
            <a:r>
              <a:rPr lang="it-IT" sz="700" b="0"/>
              <a:t>4072400822</a:t>
            </a:r>
            <a:endParaRPr lang="it-IT" sz="700" b="0" dirty="0"/>
          </a:p>
        </p:txBody>
      </p:sp>
      <p:sp>
        <p:nvSpPr>
          <p:cNvPr id="46" name="CasellaDiTesto 111">
            <a:extLst>
              <a:ext uri="{FF2B5EF4-FFF2-40B4-BE49-F238E27FC236}">
                <a16:creationId xmlns:a16="http://schemas.microsoft.com/office/drawing/2014/main" id="{A97883A2-C7E0-5A8F-72B8-E80530A98242}"/>
              </a:ext>
            </a:extLst>
          </p:cNvPr>
          <p:cNvSpPr txBox="1"/>
          <p:nvPr/>
        </p:nvSpPr>
        <p:spPr>
          <a:xfrm>
            <a:off x="9877065" y="4536180"/>
            <a:ext cx="17767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000" b="0"/>
            </a:lvl1pPr>
          </a:lstStyle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Safe disposal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Not contaminating env.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FDA end tools and hoses</a:t>
            </a:r>
          </a:p>
        </p:txBody>
      </p:sp>
      <p:sp>
        <p:nvSpPr>
          <p:cNvPr id="47" name="CasellaDiTesto 112">
            <a:extLst>
              <a:ext uri="{FF2B5EF4-FFF2-40B4-BE49-F238E27FC236}">
                <a16:creationId xmlns:a16="http://schemas.microsoft.com/office/drawing/2014/main" id="{DD1FDCE8-FA12-E50A-505D-DC40D693144E}"/>
              </a:ext>
            </a:extLst>
          </p:cNvPr>
          <p:cNvSpPr txBox="1"/>
          <p:nvPr/>
        </p:nvSpPr>
        <p:spPr>
          <a:xfrm>
            <a:off x="9890078" y="2502586"/>
            <a:ext cx="182143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High cleanability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Not contaminating env.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800"/>
              <a:t>FDA end tools and hoses</a:t>
            </a:r>
          </a:p>
        </p:txBody>
      </p:sp>
      <p:pic>
        <p:nvPicPr>
          <p:cNvPr id="48" name="Immagine 55">
            <a:extLst>
              <a:ext uri="{FF2B5EF4-FFF2-40B4-BE49-F238E27FC236}">
                <a16:creationId xmlns:a16="http://schemas.microsoft.com/office/drawing/2014/main" id="{AF6BA96A-EEF1-B18E-021C-3C0F0028CCC8}"/>
              </a:ext>
            </a:extLst>
          </p:cNvPr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1599" y="2192480"/>
            <a:ext cx="264343" cy="214516"/>
          </a:xfrm>
          <a:prstGeom prst="rect">
            <a:avLst/>
          </a:prstGeom>
        </p:spPr>
      </p:pic>
      <p:pic>
        <p:nvPicPr>
          <p:cNvPr id="49" name="Immagine 105">
            <a:extLst>
              <a:ext uri="{FF2B5EF4-FFF2-40B4-BE49-F238E27FC236}">
                <a16:creationId xmlns:a16="http://schemas.microsoft.com/office/drawing/2014/main" id="{FBB63A33-3CA8-B442-8D31-AB2127B32ED7}"/>
              </a:ext>
            </a:extLst>
          </p:cNvPr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4776" y="2492129"/>
            <a:ext cx="487175" cy="190443"/>
          </a:xfrm>
          <a:prstGeom prst="rect">
            <a:avLst/>
          </a:prstGeom>
        </p:spPr>
      </p:pic>
      <p:pic>
        <p:nvPicPr>
          <p:cNvPr id="50" name="Immagine 101">
            <a:extLst>
              <a:ext uri="{FF2B5EF4-FFF2-40B4-BE49-F238E27FC236}">
                <a16:creationId xmlns:a16="http://schemas.microsoft.com/office/drawing/2014/main" id="{7B5268C1-2F46-C601-6EB5-3B431B17BAB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4776" y="4522625"/>
            <a:ext cx="487173" cy="184995"/>
          </a:xfrm>
          <a:prstGeom prst="rect">
            <a:avLst/>
          </a:prstGeom>
        </p:spPr>
      </p:pic>
      <p:pic>
        <p:nvPicPr>
          <p:cNvPr id="51" name="Immagine 55">
            <a:extLst>
              <a:ext uri="{FF2B5EF4-FFF2-40B4-BE49-F238E27FC236}">
                <a16:creationId xmlns:a16="http://schemas.microsoft.com/office/drawing/2014/main" id="{C07D546B-1FE3-FDFB-53F1-9555EAE24977}"/>
              </a:ext>
            </a:extLst>
          </p:cNvPr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8913" y="4219773"/>
            <a:ext cx="264343" cy="214516"/>
          </a:xfrm>
          <a:prstGeom prst="rect">
            <a:avLst/>
          </a:prstGeom>
        </p:spPr>
      </p:pic>
      <p:sp>
        <p:nvSpPr>
          <p:cNvPr id="4" name="Segnaposto contenuto 1">
            <a:extLst>
              <a:ext uri="{FF2B5EF4-FFF2-40B4-BE49-F238E27FC236}">
                <a16:creationId xmlns:a16="http://schemas.microsoft.com/office/drawing/2014/main" id="{78561DBA-244D-D61A-58D2-526DA89554A1}"/>
              </a:ext>
            </a:extLst>
          </p:cNvPr>
          <p:cNvSpPr txBox="1">
            <a:spLocks/>
          </p:cNvSpPr>
          <p:nvPr/>
        </p:nvSpPr>
        <p:spPr>
          <a:xfrm>
            <a:off x="8160895" y="1119944"/>
            <a:ext cx="3539143" cy="658642"/>
          </a:xfrm>
          <a:prstGeom prst="rect">
            <a:avLst/>
          </a:prstGeom>
          <a:solidFill>
            <a:schemeClr val="accent1"/>
          </a:solidFill>
          <a:effectLst/>
        </p:spPr>
        <p:txBody>
          <a:bodyPr vert="horz" wrap="square" lIns="216000" tIns="118872" rIns="180000" bIns="118872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it-IT">
                <a:solidFill>
                  <a:schemeClr val="bg1"/>
                </a:solidFill>
                <a:latin typeface="+mj-lt"/>
              </a:rPr>
              <a:t>Pharma and nutraceutical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100">
                <a:solidFill>
                  <a:schemeClr val="bg1"/>
                </a:solidFill>
              </a:rPr>
              <a:t>Cleaning packaging machines</a:t>
            </a:r>
          </a:p>
        </p:txBody>
      </p:sp>
      <p:sp>
        <p:nvSpPr>
          <p:cNvPr id="9" name="Segnaposto contenuto 1">
            <a:extLst>
              <a:ext uri="{FF2B5EF4-FFF2-40B4-BE49-F238E27FC236}">
                <a16:creationId xmlns:a16="http://schemas.microsoft.com/office/drawing/2014/main" id="{6E9B8ED6-A5A3-AB6D-891F-296ECDED8683}"/>
              </a:ext>
            </a:extLst>
          </p:cNvPr>
          <p:cNvSpPr txBox="1">
            <a:spLocks/>
          </p:cNvSpPr>
          <p:nvPr/>
        </p:nvSpPr>
        <p:spPr>
          <a:xfrm>
            <a:off x="4258057" y="1119944"/>
            <a:ext cx="3675888" cy="658642"/>
          </a:xfrm>
          <a:prstGeom prst="rect">
            <a:avLst/>
          </a:prstGeom>
          <a:solidFill>
            <a:schemeClr val="accent1"/>
          </a:solidFill>
          <a:effectLst/>
        </p:spPr>
        <p:txBody>
          <a:bodyPr vert="horz" wrap="square" lIns="216000" tIns="118872" rIns="180000" bIns="118872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it-IT">
                <a:solidFill>
                  <a:schemeClr val="bg1"/>
                </a:solidFill>
                <a:latin typeface="+mj-lt"/>
              </a:rPr>
              <a:t>Carpentry, mechanical workshop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1100">
                <a:solidFill>
                  <a:schemeClr val="bg1"/>
                </a:solidFill>
              </a:rPr>
              <a:t>Starter kit for general entry level application </a:t>
            </a:r>
          </a:p>
        </p:txBody>
      </p:sp>
      <p:sp>
        <p:nvSpPr>
          <p:cNvPr id="10" name="Segnaposto contenuto 1">
            <a:extLst>
              <a:ext uri="{FF2B5EF4-FFF2-40B4-BE49-F238E27FC236}">
                <a16:creationId xmlns:a16="http://schemas.microsoft.com/office/drawing/2014/main" id="{2FE5CE1A-260C-BE1B-AB3E-EB295E57B12C}"/>
              </a:ext>
            </a:extLst>
          </p:cNvPr>
          <p:cNvSpPr txBox="1">
            <a:spLocks/>
          </p:cNvSpPr>
          <p:nvPr/>
        </p:nvSpPr>
        <p:spPr>
          <a:xfrm>
            <a:off x="485483" y="1119944"/>
            <a:ext cx="3559175" cy="658642"/>
          </a:xfrm>
          <a:prstGeom prst="rect">
            <a:avLst/>
          </a:prstGeom>
          <a:solidFill>
            <a:schemeClr val="accent1"/>
          </a:solidFill>
          <a:effectLst/>
        </p:spPr>
        <p:txBody>
          <a:bodyPr vert="horz" lIns="216000" tIns="118872" rIns="180000" bIns="118872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it-IT">
                <a:solidFill>
                  <a:schemeClr val="bg1"/>
                </a:solidFill>
                <a:latin typeface="+mj-lt"/>
              </a:rPr>
              <a:t>Electronics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US" sz="1100">
                <a:solidFill>
                  <a:schemeClr val="bg1"/>
                </a:solidFill>
              </a:rPr>
              <a:t>Cleaning production machineries</a:t>
            </a:r>
          </a:p>
        </p:txBody>
      </p:sp>
    </p:spTree>
    <p:extLst>
      <p:ext uri="{BB962C8B-B14F-4D97-AF65-F5344CB8AC3E}">
        <p14:creationId xmlns:p14="http://schemas.microsoft.com/office/powerpoint/2010/main" val="211246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DE39C95-756A-6DFA-7C51-E8899F758B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1416345"/>
            <a:ext cx="4571546" cy="659801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/>
              <a:t>HEPA14 spare filter: </a:t>
            </a:r>
            <a:r>
              <a:rPr lang="en-US" sz="1200">
                <a:latin typeface="+mj-lt"/>
              </a:rPr>
              <a:t>Z8 17262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/>
              <a:t>Primary Filter Cat. M: </a:t>
            </a:r>
            <a:r>
              <a:rPr lang="en-US" sz="1200">
                <a:latin typeface="+mj-lt"/>
              </a:rPr>
              <a:t>4081701855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200"/>
              <a:t>Primary Filter Cat. M PTFE: </a:t>
            </a:r>
            <a:r>
              <a:rPr lang="en-US" sz="1200">
                <a:latin typeface="+mj-lt"/>
              </a:rPr>
              <a:t>4081701856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20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6A62366-BB2E-846F-909F-AAE134CB43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5199565" cy="376456"/>
          </a:xfrm>
        </p:spPr>
        <p:txBody>
          <a:bodyPr/>
          <a:lstStyle/>
          <a:p>
            <a:r>
              <a:rPr lang="en-US"/>
              <a:t>VHS011 LC Z22 EXA / C2D2 and VHS011 LC ACD</a:t>
            </a:r>
          </a:p>
          <a:p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4219006-A81E-BFA6-E94A-CA42B670B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195661" cy="388013"/>
          </a:xfrm>
        </p:spPr>
        <p:txBody>
          <a:bodyPr/>
          <a:lstStyle/>
          <a:p>
            <a:r>
              <a:rPr lang="en-US"/>
              <a:t>Spare filters for VH011</a:t>
            </a:r>
            <a:r>
              <a:rPr lang="en-US" sz="1800">
                <a:solidFill>
                  <a:srgbClr val="000000"/>
                </a:solidFill>
                <a:latin typeface="Adobe Clean DC"/>
              </a:rPr>
              <a:t>...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109811C-A5A2-A09D-7078-5E6877E3EF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BA7D525-B027-D5FF-DAE0-1BB8B6CB32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80A43-82F5-EA7B-F96C-9886E03D6D13}"/>
              </a:ext>
            </a:extLst>
          </p:cNvPr>
          <p:cNvSpPr/>
          <p:nvPr/>
        </p:nvSpPr>
        <p:spPr>
          <a:xfrm>
            <a:off x="7212013" y="0"/>
            <a:ext cx="4979986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" name="Immagine 28">
            <a:extLst>
              <a:ext uri="{FF2B5EF4-FFF2-40B4-BE49-F238E27FC236}">
                <a16:creationId xmlns:a16="http://schemas.microsoft.com/office/drawing/2014/main" id="{67D5CF1E-AA81-7480-7C9E-3BC7ADEB9F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6766" y="2026883"/>
            <a:ext cx="2225674" cy="3490792"/>
          </a:xfrm>
          <a:prstGeom prst="rect">
            <a:avLst/>
          </a:prstGeom>
        </p:spPr>
      </p:pic>
      <p:pic>
        <p:nvPicPr>
          <p:cNvPr id="3" name="Immagine 29">
            <a:extLst>
              <a:ext uri="{FF2B5EF4-FFF2-40B4-BE49-F238E27FC236}">
                <a16:creationId xmlns:a16="http://schemas.microsoft.com/office/drawing/2014/main" id="{C4722D11-5A7C-584E-299D-3BC73F8DDEE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32580" y="1954329"/>
            <a:ext cx="2183811" cy="3579646"/>
          </a:xfrm>
          <a:prstGeom prst="rect">
            <a:avLst/>
          </a:prstGeom>
        </p:spPr>
      </p:pic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C5F8DAF0-D8BD-B7D0-0C33-371AC4E8C467}"/>
              </a:ext>
            </a:extLst>
          </p:cNvPr>
          <p:cNvSpPr txBox="1">
            <a:spLocks/>
          </p:cNvSpPr>
          <p:nvPr/>
        </p:nvSpPr>
        <p:spPr>
          <a:xfrm>
            <a:off x="479424" y="5415648"/>
            <a:ext cx="5195661" cy="310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200">
                <a:solidFill>
                  <a:srgbClr val="8997A4"/>
                </a:solidFill>
              </a:rPr>
              <a:t>* Refer to user manual and spare part list for maintenance and spare kits</a:t>
            </a:r>
          </a:p>
        </p:txBody>
      </p:sp>
      <p:pic>
        <p:nvPicPr>
          <p:cNvPr id="13" name="Immagine 13">
            <a:extLst>
              <a:ext uri="{FF2B5EF4-FFF2-40B4-BE49-F238E27FC236}">
                <a16:creationId xmlns:a16="http://schemas.microsoft.com/office/drawing/2014/main" id="{ADE1CE97-8534-BCFB-CAEA-319C8BBD9E8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2269" y="3027185"/>
            <a:ext cx="1803380" cy="1361586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16D04284-0E8C-A3EB-B0BB-88CE9B9A885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001" y="3352062"/>
            <a:ext cx="944678" cy="1068570"/>
          </a:xfrm>
          <a:prstGeom prst="rect">
            <a:avLst/>
          </a:prstGeom>
        </p:spPr>
      </p:pic>
      <p:sp>
        <p:nvSpPr>
          <p:cNvPr id="22" name="Content Placeholder 14">
            <a:extLst>
              <a:ext uri="{FF2B5EF4-FFF2-40B4-BE49-F238E27FC236}">
                <a16:creationId xmlns:a16="http://schemas.microsoft.com/office/drawing/2014/main" id="{81FB6450-D1BD-93CB-8096-7463FE6EA6B8}"/>
              </a:ext>
            </a:extLst>
          </p:cNvPr>
          <p:cNvSpPr txBox="1">
            <a:spLocks/>
          </p:cNvSpPr>
          <p:nvPr/>
        </p:nvSpPr>
        <p:spPr>
          <a:xfrm>
            <a:off x="754597" y="4388771"/>
            <a:ext cx="1391486" cy="22364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Z8 17262* </a:t>
            </a:r>
          </a:p>
        </p:txBody>
      </p:sp>
      <p:sp>
        <p:nvSpPr>
          <p:cNvPr id="26" name="Content Placeholder 14">
            <a:extLst>
              <a:ext uri="{FF2B5EF4-FFF2-40B4-BE49-F238E27FC236}">
                <a16:creationId xmlns:a16="http://schemas.microsoft.com/office/drawing/2014/main" id="{16ECB8F8-0294-8B92-E5F4-1F81F566FAEC}"/>
              </a:ext>
            </a:extLst>
          </p:cNvPr>
          <p:cNvSpPr txBox="1">
            <a:spLocks/>
          </p:cNvSpPr>
          <p:nvPr/>
        </p:nvSpPr>
        <p:spPr>
          <a:xfrm>
            <a:off x="2654232" y="4388771"/>
            <a:ext cx="1391486" cy="223644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4081701855*</a:t>
            </a:r>
          </a:p>
        </p:txBody>
      </p:sp>
    </p:spTree>
    <p:extLst>
      <p:ext uri="{BB962C8B-B14F-4D97-AF65-F5344CB8AC3E}">
        <p14:creationId xmlns:p14="http://schemas.microsoft.com/office/powerpoint/2010/main" val="680213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DE39C95-756A-6DFA-7C51-E8899F758B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1830206"/>
            <a:ext cx="4571546" cy="659801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a-DK" sz="1200"/>
              <a:t>HEPA14 spare filter:</a:t>
            </a:r>
            <a:r>
              <a:rPr lang="da-DK" sz="1200">
                <a:latin typeface="+mj-lt"/>
              </a:rPr>
              <a:t> Z8 17262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a-DK" sz="1200"/>
              <a:t>5 PC fleece filter: </a:t>
            </a:r>
            <a:r>
              <a:rPr lang="da-DK" sz="1200">
                <a:latin typeface="+mj-lt"/>
              </a:rPr>
              <a:t>107419592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da-DK" sz="1200"/>
              <a:t>1 PC safe bag system: </a:t>
            </a:r>
            <a:r>
              <a:rPr lang="da-DK" sz="1200">
                <a:latin typeface="+mj-lt"/>
              </a:rPr>
              <a:t>4084001573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6A62366-BB2E-846F-909F-AAE134CB43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5199565" cy="376456"/>
          </a:xfrm>
        </p:spPr>
        <p:txBody>
          <a:bodyPr/>
          <a:lstStyle/>
          <a:p>
            <a:r>
              <a:rPr lang="en-US"/>
              <a:t>VHS010 LC Z22 EXA / C2D2, VHS010 HC Z22 EXA / C2D2 and VHS010 LC ACD</a:t>
            </a:r>
          </a:p>
          <a:p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4219006-A81E-BFA6-E94A-CA42B670B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088438" cy="388013"/>
          </a:xfrm>
        </p:spPr>
        <p:txBody>
          <a:bodyPr/>
          <a:lstStyle/>
          <a:p>
            <a:r>
              <a:rPr lang="en-US"/>
              <a:t>Spare filters and bags filters for VHS010</a:t>
            </a:r>
            <a:r>
              <a:rPr lang="en-US" sz="1800">
                <a:solidFill>
                  <a:srgbClr val="000000"/>
                </a:solidFill>
                <a:latin typeface="Adobe Clean DC"/>
              </a:rPr>
              <a:t>...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109811C-A5A2-A09D-7078-5E6877E3EF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BA7D525-B027-D5FF-DAE0-1BB8B6CB327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C80A43-82F5-EA7B-F96C-9886E03D6D13}"/>
              </a:ext>
            </a:extLst>
          </p:cNvPr>
          <p:cNvSpPr/>
          <p:nvPr/>
        </p:nvSpPr>
        <p:spPr>
          <a:xfrm>
            <a:off x="7224962" y="0"/>
            <a:ext cx="4967037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C5F8DAF0-D8BD-B7D0-0C33-371AC4E8C467}"/>
              </a:ext>
            </a:extLst>
          </p:cNvPr>
          <p:cNvSpPr txBox="1">
            <a:spLocks/>
          </p:cNvSpPr>
          <p:nvPr/>
        </p:nvSpPr>
        <p:spPr>
          <a:xfrm>
            <a:off x="479424" y="5415648"/>
            <a:ext cx="5195661" cy="310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200">
                <a:solidFill>
                  <a:srgbClr val="8997A4"/>
                </a:solidFill>
              </a:rPr>
              <a:t>* Refer to user manual and spare part list for maintenance and spare kits</a:t>
            </a:r>
          </a:p>
        </p:txBody>
      </p:sp>
      <p:sp>
        <p:nvSpPr>
          <p:cNvPr id="22" name="Content Placeholder 14">
            <a:extLst>
              <a:ext uri="{FF2B5EF4-FFF2-40B4-BE49-F238E27FC236}">
                <a16:creationId xmlns:a16="http://schemas.microsoft.com/office/drawing/2014/main" id="{81FB6450-D1BD-93CB-8096-7463FE6EA6B8}"/>
              </a:ext>
            </a:extLst>
          </p:cNvPr>
          <p:cNvSpPr txBox="1">
            <a:spLocks/>
          </p:cNvSpPr>
          <p:nvPr/>
        </p:nvSpPr>
        <p:spPr>
          <a:xfrm>
            <a:off x="754597" y="4397999"/>
            <a:ext cx="1391486" cy="310186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107419592</a:t>
            </a:r>
          </a:p>
        </p:txBody>
      </p:sp>
      <p:sp>
        <p:nvSpPr>
          <p:cNvPr id="26" name="Content Placeholder 14">
            <a:extLst>
              <a:ext uri="{FF2B5EF4-FFF2-40B4-BE49-F238E27FC236}">
                <a16:creationId xmlns:a16="http://schemas.microsoft.com/office/drawing/2014/main" id="{16ECB8F8-0294-8B92-E5F4-1F81F566FAEC}"/>
              </a:ext>
            </a:extLst>
          </p:cNvPr>
          <p:cNvSpPr txBox="1">
            <a:spLocks/>
          </p:cNvSpPr>
          <p:nvPr/>
        </p:nvSpPr>
        <p:spPr>
          <a:xfrm>
            <a:off x="2654232" y="4397999"/>
            <a:ext cx="1391486" cy="310186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4084001573</a:t>
            </a:r>
          </a:p>
        </p:txBody>
      </p:sp>
      <p:pic>
        <p:nvPicPr>
          <p:cNvPr id="4" name="Immagine 10">
            <a:extLst>
              <a:ext uri="{FF2B5EF4-FFF2-40B4-BE49-F238E27FC236}">
                <a16:creationId xmlns:a16="http://schemas.microsoft.com/office/drawing/2014/main" id="{41DDB683-F44B-33EC-3056-8509332BF73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67863" y="1975609"/>
            <a:ext cx="2214456" cy="3555390"/>
          </a:xfrm>
          <a:prstGeom prst="rect">
            <a:avLst/>
          </a:prstGeom>
        </p:spPr>
      </p:pic>
      <p:pic>
        <p:nvPicPr>
          <p:cNvPr id="5" name="Immagine 2">
            <a:extLst>
              <a:ext uri="{FF2B5EF4-FFF2-40B4-BE49-F238E27FC236}">
                <a16:creationId xmlns:a16="http://schemas.microsoft.com/office/drawing/2014/main" id="{4F35BDDF-36C2-F1EB-C74E-EBFBCAA1674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42239" y="2144933"/>
            <a:ext cx="2214456" cy="3342828"/>
          </a:xfrm>
          <a:prstGeom prst="rect">
            <a:avLst/>
          </a:prstGeom>
        </p:spPr>
      </p:pic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DEFA3B7A-1F1C-5E53-CA26-2EF3FE2C214D}"/>
              </a:ext>
            </a:extLst>
          </p:cNvPr>
          <p:cNvSpPr txBox="1">
            <a:spLocks/>
          </p:cNvSpPr>
          <p:nvPr/>
        </p:nvSpPr>
        <p:spPr>
          <a:xfrm>
            <a:off x="4553867" y="4397998"/>
            <a:ext cx="1391486" cy="310185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200">
                <a:latin typeface="+mj-lt"/>
              </a:rPr>
              <a:t>Z8 17262*</a:t>
            </a:r>
          </a:p>
        </p:txBody>
      </p:sp>
      <p:pic>
        <p:nvPicPr>
          <p:cNvPr id="19" name="Immagine 9">
            <a:extLst>
              <a:ext uri="{FF2B5EF4-FFF2-40B4-BE49-F238E27FC236}">
                <a16:creationId xmlns:a16="http://schemas.microsoft.com/office/drawing/2014/main" id="{B314CD1B-398F-5285-055C-444EC826775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7893" y="3438881"/>
            <a:ext cx="852111" cy="959118"/>
          </a:xfrm>
          <a:prstGeom prst="rect">
            <a:avLst/>
          </a:prstGeom>
        </p:spPr>
      </p:pic>
      <p:pic>
        <p:nvPicPr>
          <p:cNvPr id="20" name="Immagine 12">
            <a:extLst>
              <a:ext uri="{FF2B5EF4-FFF2-40B4-BE49-F238E27FC236}">
                <a16:creationId xmlns:a16="http://schemas.microsoft.com/office/drawing/2014/main" id="{BDDBDFAE-DD84-7E29-F518-E2B0BD759C4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0712" y="3057503"/>
            <a:ext cx="666472" cy="263029"/>
          </a:xfrm>
          <a:prstGeom prst="rect">
            <a:avLst/>
          </a:prstGeom>
        </p:spPr>
      </p:pic>
      <p:pic>
        <p:nvPicPr>
          <p:cNvPr id="12" name="Immagine 8">
            <a:extLst>
              <a:ext uri="{FF2B5EF4-FFF2-40B4-BE49-F238E27FC236}">
                <a16:creationId xmlns:a16="http://schemas.microsoft.com/office/drawing/2014/main" id="{0CE818DC-A02D-3993-EB04-68012548861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080" y="3438373"/>
            <a:ext cx="1884750" cy="890073"/>
          </a:xfrm>
          <a:prstGeom prst="rect">
            <a:avLst/>
          </a:prstGeom>
        </p:spPr>
      </p:pic>
      <p:pic>
        <p:nvPicPr>
          <p:cNvPr id="21" name="Immagine 13">
            <a:extLst>
              <a:ext uri="{FF2B5EF4-FFF2-40B4-BE49-F238E27FC236}">
                <a16:creationId xmlns:a16="http://schemas.microsoft.com/office/drawing/2014/main" id="{5D703578-AA74-6E5F-4FC7-0D9CD774550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058" y="3042156"/>
            <a:ext cx="772795" cy="263029"/>
          </a:xfrm>
          <a:prstGeom prst="rect">
            <a:avLst/>
          </a:prstGeom>
        </p:spPr>
      </p:pic>
      <p:pic>
        <p:nvPicPr>
          <p:cNvPr id="27" name="Immagine 17">
            <a:extLst>
              <a:ext uri="{FF2B5EF4-FFF2-40B4-BE49-F238E27FC236}">
                <a16:creationId xmlns:a16="http://schemas.microsoft.com/office/drawing/2014/main" id="{E4260426-8ABF-4334-13AF-CF888474704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950" y="3405440"/>
            <a:ext cx="944678" cy="1068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11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2" name="think-cell data - do not delete">
            <a:extLst>
              <a:ext uri="{FF2B5EF4-FFF2-40B4-BE49-F238E27FC236}">
                <a16:creationId xmlns:a16="http://schemas.microsoft.com/office/drawing/2014/main" id="{CAC58779-A0E0-17B0-F3C1-16DC0D15B1F4}"/>
              </a:ext>
            </a:extLst>
          </p:cNvPr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5A93757B-6F32-1E18-BA3F-06D79531AA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dirty="0" lang="en-US"/>
              <a:t>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3AE036-47D7-32AD-A3F0-A3DDEA4A5F59}"/>
              </a:ext>
            </a:extLst>
          </p:cNvPr>
          <p:cNvSpPr>
            <a:spLocks noGrp="1"/>
          </p:cNvSpPr>
          <p:nvPr>
            <p:ph idx="13" sz="quarter" type="body"/>
          </p:nvPr>
        </p:nvSpPr>
        <p:spPr/>
        <p:txBody>
          <a:bodyPr/>
          <a:lstStyle/>
          <a:p>
            <a:r>
              <a:rPr lang="en-US"/>
              <a:t>Technical specification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359D42-9F6D-2132-4CC2-908E940425DE}"/>
              </a:ext>
            </a:extLst>
          </p:cNvPr>
          <p:cNvSpPr>
            <a:spLocks noGrp="1"/>
          </p:cNvSpPr>
          <p:nvPr>
            <p:ph idx="15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6BD8E-4C27-43B9-E8D0-565BFE7BE8D3}"/>
              </a:ext>
            </a:extLst>
          </p:cNvPr>
          <p:cNvSpPr>
            <a:spLocks noGrp="1"/>
          </p:cNvSpPr>
          <p:nvPr>
            <p:ph idx="16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38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EE17D6-3174-4789-92AE-9A4174491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ini IVS technical data CE 230V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06D4E9-55FA-4D61-9784-CC66764A2ADB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004061-2A4E-456D-9742-CB74EEA6A4DE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7</a:t>
            </a:fld>
            <a:endParaRPr lang="en-US"/>
          </a:p>
        </p:txBody>
      </p:sp>
      <p:graphicFrame>
        <p:nvGraphicFramePr>
          <p:cNvPr id="9" name="Tabella 17">
            <a:extLst>
              <a:ext uri="{FF2B5EF4-FFF2-40B4-BE49-F238E27FC236}">
                <a16:creationId xmlns:a16="http://schemas.microsoft.com/office/drawing/2014/main" id="{7F0EB44D-598E-464A-A35F-E8B45841A0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4381648"/>
              </p:ext>
            </p:extLst>
          </p:nvPr>
        </p:nvGraphicFramePr>
        <p:xfrm>
          <a:off x="471448" y="2092459"/>
          <a:ext cx="11265408" cy="3986784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92024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183238228"/>
                    </a:ext>
                  </a:extLst>
                </a:gridCol>
                <a:gridCol w="1389888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389888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389888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  <a:gridCol w="1389888">
                  <a:extLst>
                    <a:ext uri="{9D8B030D-6E8A-4147-A177-3AD203B41FA5}">
                      <a16:colId xmlns:a16="http://schemas.microsoft.com/office/drawing/2014/main" val="2419725259"/>
                    </a:ext>
                  </a:extLst>
                </a:gridCol>
                <a:gridCol w="1389888">
                  <a:extLst>
                    <a:ext uri="{9D8B030D-6E8A-4147-A177-3AD203B41FA5}">
                      <a16:colId xmlns:a16="http://schemas.microsoft.com/office/drawing/2014/main" val="4273360590"/>
                    </a:ext>
                  </a:extLst>
                </a:gridCol>
                <a:gridCol w="1389888">
                  <a:extLst>
                    <a:ext uri="{9D8B030D-6E8A-4147-A177-3AD203B41FA5}">
                      <a16:colId xmlns:a16="http://schemas.microsoft.com/office/drawing/2014/main" val="24067678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Technical data 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nit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 LC ACD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 HC ACD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1 LC ACD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 LC Z22 EXA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 HC Z22 EXA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1 LC Z22 EXA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PN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fontAlgn="ctr"/>
                      <a:endParaRPr b="0" dirty="0" i="0" lang="it-IT" strike="noStrike" sz="950" u="none">
                        <a:solidFill>
                          <a:srgbClr val="181717"/>
                        </a:solidFill>
                        <a:effectLst/>
                        <a:latin charset="0" panose="020F0502020204030204" pitchFamily="34" typeface="Calibri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6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9848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oltage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requency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Hz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Protection class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P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284012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nsulation class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lass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86157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Rated power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W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61021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ax </a:t>
                      </a:r>
                      <a:r>
                        <a:rPr b="0" baseline="0" cap="none" dirty="0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b="0" baseline="3000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750 – 1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750 – 1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750 – 1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466 – 20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466 – 20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466 – 20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en-US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with 3-meter hose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b="0" baseline="3000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500 –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500 – 1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416 –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4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833 – 1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833 – 1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fr-FR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750  - 1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acuum max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Pa – mbar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ound pressure level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30925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ontainer capacity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0676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ain filter type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leece</a:t>
                      </a: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ilter class 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afe bag syste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 Class Cartridge 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leece filter class 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afe bag syste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 Class Cartridge 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9694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ain filter area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m</a:t>
                      </a:r>
                      <a:r>
                        <a:rPr b="0" baseline="3000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4756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Upstream HEPA filter H14 area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m</a:t>
                      </a:r>
                      <a:r>
                        <a:rPr b="0" baseline="3000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97571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nlet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6249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ength x Width x Height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2x7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2x7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2x7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FF0000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FF0000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8133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eight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852341"/>
                  </a:ext>
                </a:extLst>
              </a:tr>
            </a:tbl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B437B722-9BDA-4470-9397-69763F356DAD}"/>
              </a:ext>
            </a:extLst>
          </p:cNvPr>
          <p:cNvGrpSpPr/>
          <p:nvPr/>
        </p:nvGrpSpPr>
        <p:grpSpPr>
          <a:xfrm>
            <a:off x="3450426" y="1042320"/>
            <a:ext cx="7522348" cy="1028400"/>
            <a:chOff x="3450426" y="1042320"/>
            <a:chExt cx="7522348" cy="1028400"/>
          </a:xfrm>
        </p:grpSpPr>
        <p:pic>
          <p:nvPicPr>
            <p:cNvPr id="18" name="Immagine 4">
              <a:extLst>
                <a:ext uri="{FF2B5EF4-FFF2-40B4-BE49-F238E27FC236}">
                  <a16:creationId xmlns:a16="http://schemas.microsoft.com/office/drawing/2014/main" id="{5483512C-CB1B-4A07-8EE7-E6D217040533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98" r="798"/>
            <a:stretch/>
          </p:blipFill>
          <p:spPr>
            <a:xfrm>
              <a:off x="3450426" y="1168179"/>
              <a:ext cx="557070" cy="883532"/>
            </a:xfrm>
            <a:prstGeom prst="rect">
              <a:avLst/>
            </a:prstGeom>
          </p:spPr>
        </p:pic>
        <p:pic>
          <p:nvPicPr>
            <p:cNvPr id="19" name="Segnaposto contenuto 7">
              <a:extLst>
                <a:ext uri="{FF2B5EF4-FFF2-40B4-BE49-F238E27FC236}">
                  <a16:creationId xmlns:a16="http://schemas.microsoft.com/office/drawing/2014/main" id="{1A16C88E-F612-4A3E-AC62-1C59D7F824AF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6200775" y="1086710"/>
              <a:ext cx="627362" cy="984010"/>
            </a:xfrm>
            <a:prstGeom prst="rect">
              <a:avLst/>
            </a:prstGeom>
          </p:spPr>
        </p:pic>
        <p:pic>
          <p:nvPicPr>
            <p:cNvPr id="20" name="Immagine 6">
              <a:extLst>
                <a:ext uri="{FF2B5EF4-FFF2-40B4-BE49-F238E27FC236}">
                  <a16:creationId xmlns:a16="http://schemas.microsoft.com/office/drawing/2014/main" id="{851E43A5-36CD-4BB7-8933-4FD51DCE7208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98" r="798"/>
            <a:stretch/>
          </p:blipFill>
          <p:spPr>
            <a:xfrm>
              <a:off x="4846313" y="1144130"/>
              <a:ext cx="557070" cy="883532"/>
            </a:xfrm>
            <a:prstGeom prst="rect">
              <a:avLst/>
            </a:prstGeom>
          </p:spPr>
        </p:pic>
        <p:pic>
          <p:nvPicPr>
            <p:cNvPr id="21" name="Immagine 7">
              <a:extLst>
                <a:ext uri="{FF2B5EF4-FFF2-40B4-BE49-F238E27FC236}">
                  <a16:creationId xmlns:a16="http://schemas.microsoft.com/office/drawing/2014/main" id="{12658F0B-57DF-4405-A454-C3D4726272A3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7576378" y="1053856"/>
              <a:ext cx="627362" cy="1007295"/>
            </a:xfrm>
            <a:prstGeom prst="rect">
              <a:avLst/>
            </a:prstGeom>
          </p:spPr>
        </p:pic>
        <p:pic>
          <p:nvPicPr>
            <p:cNvPr id="22" name="Immagine 8">
              <a:extLst>
                <a:ext uri="{FF2B5EF4-FFF2-40B4-BE49-F238E27FC236}">
                  <a16:creationId xmlns:a16="http://schemas.microsoft.com/office/drawing/2014/main" id="{AEE639A3-418A-4C2B-92E7-0F406019FB4F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10345411" y="1042320"/>
              <a:ext cx="627363" cy="1028400"/>
            </a:xfrm>
            <a:prstGeom prst="rect">
              <a:avLst/>
            </a:prstGeom>
          </p:spPr>
        </p:pic>
        <p:pic>
          <p:nvPicPr>
            <p:cNvPr id="23" name="Immagine 9">
              <a:extLst>
                <a:ext uri="{FF2B5EF4-FFF2-40B4-BE49-F238E27FC236}">
                  <a16:creationId xmlns:a16="http://schemas.microsoft.com/office/drawing/2014/main" id="{52D77869-121D-4220-B7BA-41B69F502D90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8969808" y="1063425"/>
              <a:ext cx="627362" cy="10072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2720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EE17D6-3174-4789-92AE-9A4174491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ini IVS technical data UL 120V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06D4E9-55FA-4D61-9784-CC66764A2ADB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004061-2A4E-456D-9742-CB74EEA6A4DE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8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DE533B8-EF78-4FEE-A54C-15542C2ABA3A}"/>
              </a:ext>
            </a:extLst>
          </p:cNvPr>
          <p:cNvGrpSpPr/>
          <p:nvPr/>
        </p:nvGrpSpPr>
        <p:grpSpPr>
          <a:xfrm>
            <a:off x="3450426" y="1042320"/>
            <a:ext cx="7522348" cy="1028400"/>
            <a:chOff x="3450426" y="1042320"/>
            <a:chExt cx="7522348" cy="1028400"/>
          </a:xfrm>
        </p:grpSpPr>
        <p:pic>
          <p:nvPicPr>
            <p:cNvPr id="11" name="Immagine 4">
              <a:extLst>
                <a:ext uri="{FF2B5EF4-FFF2-40B4-BE49-F238E27FC236}">
                  <a16:creationId xmlns:a16="http://schemas.microsoft.com/office/drawing/2014/main" id="{AA1EDB17-23A0-4F70-9F7C-917D05095D15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98" r="798"/>
            <a:stretch/>
          </p:blipFill>
          <p:spPr>
            <a:xfrm>
              <a:off x="3450426" y="1168179"/>
              <a:ext cx="557070" cy="883532"/>
            </a:xfrm>
            <a:prstGeom prst="rect">
              <a:avLst/>
            </a:prstGeom>
          </p:spPr>
        </p:pic>
        <p:pic>
          <p:nvPicPr>
            <p:cNvPr id="12" name="Segnaposto contenuto 7">
              <a:extLst>
                <a:ext uri="{FF2B5EF4-FFF2-40B4-BE49-F238E27FC236}">
                  <a16:creationId xmlns:a16="http://schemas.microsoft.com/office/drawing/2014/main" id="{0C780A2F-62D0-4F3E-9888-66F1D5E2FF4A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6200775" y="1086710"/>
              <a:ext cx="627362" cy="984010"/>
            </a:xfrm>
            <a:prstGeom prst="rect">
              <a:avLst/>
            </a:prstGeom>
          </p:spPr>
        </p:pic>
        <p:pic>
          <p:nvPicPr>
            <p:cNvPr id="13" name="Immagine 6">
              <a:extLst>
                <a:ext uri="{FF2B5EF4-FFF2-40B4-BE49-F238E27FC236}">
                  <a16:creationId xmlns:a16="http://schemas.microsoft.com/office/drawing/2014/main" id="{7F6C7A75-B2BF-4058-9845-A2A924B7F033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98" r="798"/>
            <a:stretch/>
          </p:blipFill>
          <p:spPr>
            <a:xfrm>
              <a:off x="4846313" y="1144130"/>
              <a:ext cx="557070" cy="883532"/>
            </a:xfrm>
            <a:prstGeom prst="rect">
              <a:avLst/>
            </a:prstGeom>
          </p:spPr>
        </p:pic>
        <p:pic>
          <p:nvPicPr>
            <p:cNvPr id="14" name="Immagine 7">
              <a:extLst>
                <a:ext uri="{FF2B5EF4-FFF2-40B4-BE49-F238E27FC236}">
                  <a16:creationId xmlns:a16="http://schemas.microsoft.com/office/drawing/2014/main" id="{91857E3E-78D5-4FF6-8F09-66F22E6ECB93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7576378" y="1053856"/>
              <a:ext cx="627362" cy="1007295"/>
            </a:xfrm>
            <a:prstGeom prst="rect">
              <a:avLst/>
            </a:prstGeom>
          </p:spPr>
        </p:pic>
        <p:pic>
          <p:nvPicPr>
            <p:cNvPr id="15" name="Immagine 8">
              <a:extLst>
                <a:ext uri="{FF2B5EF4-FFF2-40B4-BE49-F238E27FC236}">
                  <a16:creationId xmlns:a16="http://schemas.microsoft.com/office/drawing/2014/main" id="{8206C1B9-C81B-40C3-BF59-F905F8589F6D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10345411" y="1042320"/>
              <a:ext cx="627363" cy="1028400"/>
            </a:xfrm>
            <a:prstGeom prst="rect">
              <a:avLst/>
            </a:prstGeom>
          </p:spPr>
        </p:pic>
        <p:pic>
          <p:nvPicPr>
            <p:cNvPr id="16" name="Immagine 9">
              <a:extLst>
                <a:ext uri="{FF2B5EF4-FFF2-40B4-BE49-F238E27FC236}">
                  <a16:creationId xmlns:a16="http://schemas.microsoft.com/office/drawing/2014/main" id="{AAEE107E-8539-48F2-806E-12A6E6D47D2E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8969808" y="1063425"/>
              <a:ext cx="627362" cy="1007295"/>
            </a:xfrm>
            <a:prstGeom prst="rect">
              <a:avLst/>
            </a:prstGeom>
          </p:spPr>
        </p:pic>
      </p:grpSp>
      <p:graphicFrame>
        <p:nvGraphicFramePr>
          <p:cNvPr id="17" name="Tabella 21">
            <a:extLst>
              <a:ext uri="{FF2B5EF4-FFF2-40B4-BE49-F238E27FC236}">
                <a16:creationId xmlns:a16="http://schemas.microsoft.com/office/drawing/2014/main" id="{336B7745-7C26-4ED7-85BF-783D784BC8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7993495"/>
              </p:ext>
            </p:extLst>
          </p:nvPr>
        </p:nvGraphicFramePr>
        <p:xfrm>
          <a:off x="482917" y="2070720"/>
          <a:ext cx="11346531" cy="4204716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920240">
                  <a:extLst>
                    <a:ext uri="{9D8B030D-6E8A-4147-A177-3AD203B41FA5}">
                      <a16:colId xmlns:a16="http://schemas.microsoft.com/office/drawing/2014/main" val="718654225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056558987"/>
                    </a:ext>
                  </a:extLst>
                </a:gridCol>
                <a:gridCol w="1380744">
                  <a:extLst>
                    <a:ext uri="{9D8B030D-6E8A-4147-A177-3AD203B41FA5}">
                      <a16:colId xmlns:a16="http://schemas.microsoft.com/office/drawing/2014/main" val="3849329098"/>
                    </a:ext>
                  </a:extLst>
                </a:gridCol>
                <a:gridCol w="1380744">
                  <a:extLst>
                    <a:ext uri="{9D8B030D-6E8A-4147-A177-3AD203B41FA5}">
                      <a16:colId xmlns:a16="http://schemas.microsoft.com/office/drawing/2014/main" val="973413425"/>
                    </a:ext>
                  </a:extLst>
                </a:gridCol>
                <a:gridCol w="1380744">
                  <a:extLst>
                    <a:ext uri="{9D8B030D-6E8A-4147-A177-3AD203B41FA5}">
                      <a16:colId xmlns:a16="http://schemas.microsoft.com/office/drawing/2014/main" val="3941392194"/>
                    </a:ext>
                  </a:extLst>
                </a:gridCol>
                <a:gridCol w="1380744">
                  <a:extLst>
                    <a:ext uri="{9D8B030D-6E8A-4147-A177-3AD203B41FA5}">
                      <a16:colId xmlns:a16="http://schemas.microsoft.com/office/drawing/2014/main" val="4043061208"/>
                    </a:ext>
                  </a:extLst>
                </a:gridCol>
                <a:gridCol w="1380744">
                  <a:extLst>
                    <a:ext uri="{9D8B030D-6E8A-4147-A177-3AD203B41FA5}">
                      <a16:colId xmlns:a16="http://schemas.microsoft.com/office/drawing/2014/main" val="1365954349"/>
                    </a:ext>
                  </a:extLst>
                </a:gridCol>
                <a:gridCol w="1516731">
                  <a:extLst>
                    <a:ext uri="{9D8B030D-6E8A-4147-A177-3AD203B41FA5}">
                      <a16:colId xmlns:a16="http://schemas.microsoft.com/office/drawing/2014/main" val="3046418618"/>
                    </a:ext>
                  </a:extLst>
                </a:gridCol>
              </a:tblGrid>
              <a:tr h="262108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Technical data 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nit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N1 LC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ACD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N1 HC ACD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1N1 LC ACD AU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N1 LC C2D2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N1 HC C2D2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1N1 LC C2D2 AU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73504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fontAlgn="ctr"/>
                      <a:endParaRPr b="0" dirty="0" i="0" lang="it-IT" strike="noStrike" sz="950" u="none">
                        <a:solidFill>
                          <a:srgbClr val="181717"/>
                        </a:solidFill>
                        <a:effectLst/>
                        <a:latin charset="0" panose="020F0502020204030204" pitchFamily="34" typeface="Calibri"/>
                      </a:endParaRP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fontAlgn="ctr"/>
                      <a:endParaRPr b="0" i="0" lang="it-IT" strike="noStrike" sz="950" u="none">
                        <a:solidFill>
                          <a:srgbClr val="181717"/>
                        </a:solidFill>
                        <a:effectLst/>
                        <a:latin charset="0" panose="020F0502020204030204" pitchFamily="34" typeface="Calibri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TBD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TBD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44664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oltage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2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2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2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2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2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2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009456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requency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Hz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481838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Protection class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P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450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nsulation class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lass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3374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Rated power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W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13991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ax </a:t>
                      </a:r>
                      <a:r>
                        <a:rPr b="0" baseline="0" cap="none" dirty="0" i="0" kern="1200" lang="en-US" noProof="0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b="0" baseline="3000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833 – 1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833 – 1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833 – 1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583 – 2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583 – 2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583 – 2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610694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with 3-meters hose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b="0" baseline="3000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416 – 14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416 – 14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333 – 1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833 –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833 –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fr-FR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583 – </a:t>
                      </a:r>
                      <a:r>
                        <a:rPr b="0" baseline="0" cap="none" dirty="0" i="0" kern="1200" lang="fr-FR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5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137884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dirty="0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with 3-meters hose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err="1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fm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8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8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fr-FR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9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371996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acuum max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Pa – mbar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0 – 2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0 – 2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0 – 2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31415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ound pressure level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274004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ontainer capacity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014471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ain filter type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</a:t>
                      </a:r>
                      <a:r>
                        <a:rPr b="0" baseline="0" cap="none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eece</a:t>
                      </a: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ilter class 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afe </a:t>
                      </a:r>
                      <a:r>
                        <a:rPr b="0" baseline="0" cap="none" dirty="0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g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syste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 Class </a:t>
                      </a:r>
                      <a:r>
                        <a:rPr b="0" baseline="0" cap="none" dirty="0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artridge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leece filter class 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afe bag syste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 Class </a:t>
                      </a:r>
                      <a:r>
                        <a:rPr b="0" baseline="0" cap="none" dirty="0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artridge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53414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ain filter area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m</a:t>
                      </a:r>
                      <a:r>
                        <a:rPr b="0" baseline="3000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14812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Upstream HEPA filter H14 area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m</a:t>
                      </a:r>
                      <a:r>
                        <a:rPr b="0" baseline="3000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198874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nlet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964298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ength x Width x Height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2x7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2x7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2x7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FF0000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FF0000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66000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eight</a:t>
                      </a:r>
                    </a:p>
                  </a:txBody>
                  <a:tcPr anchor="ctr" marB="0" marR="36576" marT="0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317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3116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EE17D6-3174-4789-92AE-9A4174491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ini IVS technical data UK 110V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06D4E9-55FA-4D61-9784-CC66764A2ADB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004061-2A4E-456D-9742-CB74EEA6A4DE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9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DE533B8-EF78-4FEE-A54C-15542C2ABA3A}"/>
              </a:ext>
            </a:extLst>
          </p:cNvPr>
          <p:cNvGrpSpPr/>
          <p:nvPr/>
        </p:nvGrpSpPr>
        <p:grpSpPr>
          <a:xfrm>
            <a:off x="3450426" y="1042320"/>
            <a:ext cx="7522348" cy="1028400"/>
            <a:chOff x="3450426" y="1042320"/>
            <a:chExt cx="7522348" cy="1028400"/>
          </a:xfrm>
        </p:grpSpPr>
        <p:pic>
          <p:nvPicPr>
            <p:cNvPr id="11" name="Immagine 4">
              <a:extLst>
                <a:ext uri="{FF2B5EF4-FFF2-40B4-BE49-F238E27FC236}">
                  <a16:creationId xmlns:a16="http://schemas.microsoft.com/office/drawing/2014/main" id="{AA1EDB17-23A0-4F70-9F7C-917D05095D15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98" r="798"/>
            <a:stretch/>
          </p:blipFill>
          <p:spPr>
            <a:xfrm>
              <a:off x="3450426" y="1168179"/>
              <a:ext cx="557070" cy="883532"/>
            </a:xfrm>
            <a:prstGeom prst="rect">
              <a:avLst/>
            </a:prstGeom>
          </p:spPr>
        </p:pic>
        <p:pic>
          <p:nvPicPr>
            <p:cNvPr id="12" name="Segnaposto contenuto 7">
              <a:extLst>
                <a:ext uri="{FF2B5EF4-FFF2-40B4-BE49-F238E27FC236}">
                  <a16:creationId xmlns:a16="http://schemas.microsoft.com/office/drawing/2014/main" id="{0C780A2F-62D0-4F3E-9888-66F1D5E2FF4A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6200775" y="1086710"/>
              <a:ext cx="627362" cy="984010"/>
            </a:xfrm>
            <a:prstGeom prst="rect">
              <a:avLst/>
            </a:prstGeom>
          </p:spPr>
        </p:pic>
        <p:pic>
          <p:nvPicPr>
            <p:cNvPr id="13" name="Immagine 6">
              <a:extLst>
                <a:ext uri="{FF2B5EF4-FFF2-40B4-BE49-F238E27FC236}">
                  <a16:creationId xmlns:a16="http://schemas.microsoft.com/office/drawing/2014/main" id="{7F6C7A75-B2BF-4058-9845-A2A924B7F033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98" r="798"/>
            <a:stretch/>
          </p:blipFill>
          <p:spPr>
            <a:xfrm>
              <a:off x="4846313" y="1144130"/>
              <a:ext cx="557070" cy="883532"/>
            </a:xfrm>
            <a:prstGeom prst="rect">
              <a:avLst/>
            </a:prstGeom>
          </p:spPr>
        </p:pic>
        <p:pic>
          <p:nvPicPr>
            <p:cNvPr id="14" name="Immagine 7">
              <a:extLst>
                <a:ext uri="{FF2B5EF4-FFF2-40B4-BE49-F238E27FC236}">
                  <a16:creationId xmlns:a16="http://schemas.microsoft.com/office/drawing/2014/main" id="{91857E3E-78D5-4FF6-8F09-66F22E6ECB93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7576378" y="1053856"/>
              <a:ext cx="627362" cy="1007295"/>
            </a:xfrm>
            <a:prstGeom prst="rect">
              <a:avLst/>
            </a:prstGeom>
          </p:spPr>
        </p:pic>
        <p:pic>
          <p:nvPicPr>
            <p:cNvPr id="15" name="Immagine 8">
              <a:extLst>
                <a:ext uri="{FF2B5EF4-FFF2-40B4-BE49-F238E27FC236}">
                  <a16:creationId xmlns:a16="http://schemas.microsoft.com/office/drawing/2014/main" id="{8206C1B9-C81B-40C3-BF59-F905F8589F6D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10345411" y="1042320"/>
              <a:ext cx="627363" cy="1028400"/>
            </a:xfrm>
            <a:prstGeom prst="rect">
              <a:avLst/>
            </a:prstGeom>
          </p:spPr>
        </p:pic>
        <p:pic>
          <p:nvPicPr>
            <p:cNvPr id="16" name="Immagine 9">
              <a:extLst>
                <a:ext uri="{FF2B5EF4-FFF2-40B4-BE49-F238E27FC236}">
                  <a16:creationId xmlns:a16="http://schemas.microsoft.com/office/drawing/2014/main" id="{AAEE107E-8539-48F2-806E-12A6E6D47D2E}"/>
                </a:ext>
              </a:extLst>
            </p:cNvPr>
            <p:cNvPicPr>
              <a:picLocks noChangeAspect="1"/>
            </p:cNvPicPr>
            <p:nvPr/>
          </p:nvPicPr>
          <p:blipFill>
            <a:blip cstate="email"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" r="2"/>
            <a:stretch/>
          </p:blipFill>
          <p:spPr>
            <a:xfrm>
              <a:off x="8969808" y="1063425"/>
              <a:ext cx="627362" cy="1007295"/>
            </a:xfrm>
            <a:prstGeom prst="rect">
              <a:avLst/>
            </a:prstGeom>
          </p:spPr>
        </p:pic>
      </p:grpSp>
      <p:graphicFrame>
        <p:nvGraphicFramePr>
          <p:cNvPr id="18" name="Tabella 24">
            <a:extLst>
              <a:ext uri="{FF2B5EF4-FFF2-40B4-BE49-F238E27FC236}">
                <a16:creationId xmlns:a16="http://schemas.microsoft.com/office/drawing/2014/main" id="{E45C7C2B-5C67-41C0-8CAE-50DEB199C4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533623"/>
              </p:ext>
            </p:extLst>
          </p:nvPr>
        </p:nvGraphicFramePr>
        <p:xfrm>
          <a:off x="471271" y="2006616"/>
          <a:ext cx="11228832" cy="4276344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1920240">
                  <a:extLst>
                    <a:ext uri="{9D8B030D-6E8A-4147-A177-3AD203B41FA5}">
                      <a16:colId xmlns:a16="http://schemas.microsoft.com/office/drawing/2014/main" val="3345690489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810155927"/>
                    </a:ext>
                  </a:extLst>
                </a:gridCol>
                <a:gridCol w="1399032">
                  <a:extLst>
                    <a:ext uri="{9D8B030D-6E8A-4147-A177-3AD203B41FA5}">
                      <a16:colId xmlns:a16="http://schemas.microsoft.com/office/drawing/2014/main" val="1143000492"/>
                    </a:ext>
                  </a:extLst>
                </a:gridCol>
                <a:gridCol w="1399032">
                  <a:extLst>
                    <a:ext uri="{9D8B030D-6E8A-4147-A177-3AD203B41FA5}">
                      <a16:colId xmlns:a16="http://schemas.microsoft.com/office/drawing/2014/main" val="1381345046"/>
                    </a:ext>
                  </a:extLst>
                </a:gridCol>
                <a:gridCol w="1399032">
                  <a:extLst>
                    <a:ext uri="{9D8B030D-6E8A-4147-A177-3AD203B41FA5}">
                      <a16:colId xmlns:a16="http://schemas.microsoft.com/office/drawing/2014/main" val="3439146959"/>
                    </a:ext>
                  </a:extLst>
                </a:gridCol>
                <a:gridCol w="1399032">
                  <a:extLst>
                    <a:ext uri="{9D8B030D-6E8A-4147-A177-3AD203B41FA5}">
                      <a16:colId xmlns:a16="http://schemas.microsoft.com/office/drawing/2014/main" val="1644241281"/>
                    </a:ext>
                  </a:extLst>
                </a:gridCol>
                <a:gridCol w="1399032">
                  <a:extLst>
                    <a:ext uri="{9D8B030D-6E8A-4147-A177-3AD203B41FA5}">
                      <a16:colId xmlns:a16="http://schemas.microsoft.com/office/drawing/2014/main" val="468961930"/>
                    </a:ext>
                  </a:extLst>
                </a:gridCol>
                <a:gridCol w="1399032">
                  <a:extLst>
                    <a:ext uri="{9D8B030D-6E8A-4147-A177-3AD203B41FA5}">
                      <a16:colId xmlns:a16="http://schemas.microsoft.com/office/drawing/2014/main" val="3995984178"/>
                    </a:ext>
                  </a:extLst>
                </a:gridCol>
              </a:tblGrid>
              <a:tr h="385442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Technical data 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nit</a:t>
                      </a:r>
                    </a:p>
                  </a:txBody>
                  <a:tcPr marB="91440" marR="45720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 </a:t>
                      </a: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HC ACD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110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KP</a:t>
                      </a:r>
                    </a:p>
                  </a:txBody>
                  <a:tcPr marB="91440" marR="36576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 </a:t>
                      </a: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HC ACD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KP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 marB="91440" marR="36576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1 LC </a:t>
                      </a: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ACD </a:t>
                      </a:r>
                      <a:b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110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UKP</a:t>
                      </a:r>
                    </a:p>
                  </a:txBody>
                  <a:tcPr marB="91440" marR="36576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pl-PL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 LC Z22 EXA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</a:t>
                      </a:r>
                      <a:r>
                        <a:rPr b="0" baseline="0" cap="none" dirty="0" i="0" kern="1200" lang="pl-PL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110 UKP</a:t>
                      </a:r>
                    </a:p>
                  </a:txBody>
                  <a:tcPr marB="91440" marR="36576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pl-PL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0 HC Z22 EXA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</a:t>
                      </a:r>
                      <a:r>
                        <a:rPr b="0" baseline="0" cap="none" dirty="0" i="0" kern="1200" lang="pl-PL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110 UKP</a:t>
                      </a:r>
                    </a:p>
                  </a:txBody>
                  <a:tcPr marB="91440" marR="36576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pl-PL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HS011 LC Z22 EXA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V</a:t>
                      </a:r>
                      <a:r>
                        <a:rPr b="0" baseline="0" cap="none" dirty="0" i="0" kern="1200" lang="pl-PL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110 UKP</a:t>
                      </a:r>
                    </a:p>
                  </a:txBody>
                  <a:tcPr marB="91440" marR="36576"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8691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fontAlgn="ctr"/>
                      <a:endParaRPr b="0" dirty="0" i="0" lang="it-IT" strike="noStrike" sz="950" u="none">
                        <a:solidFill>
                          <a:srgbClr val="181717"/>
                        </a:solidFill>
                        <a:effectLst/>
                        <a:latin charset="0" panose="020F0502020204030204" pitchFamily="34" typeface="Calibri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fontAlgn="ctr"/>
                      <a:endParaRPr b="0" i="0" lang="it-IT" strike="noStrike" sz="950" u="none">
                        <a:solidFill>
                          <a:srgbClr val="181717"/>
                        </a:solidFill>
                        <a:effectLst/>
                        <a:latin charset="0" panose="020F0502020204030204" pitchFamily="34" typeface="Calibri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TBD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95522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oltage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2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2225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requency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Hz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3936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Protection class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P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4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6456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nsulation class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lass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97985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Rated power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W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0,9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31650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ax </a:t>
                      </a:r>
                      <a:r>
                        <a:rPr b="0" baseline="0" cap="none" dirty="0" i="0" kern="1200" lang="en-US" noProof="0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b="0" baseline="3000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666 – 1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750 – 16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666 – 1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333 – 2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333 – 2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333 – 2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06787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Airflow </a:t>
                      </a:r>
                      <a:r>
                        <a:rPr b="0" baseline="0" cap="none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ith </a:t>
                      </a:r>
                      <a:br>
                        <a:rPr b="0" baseline="0" cap="none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</a:br>
                      <a:r>
                        <a:rPr b="0" baseline="0" cap="none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-meter </a:t>
                      </a:r>
                      <a:r>
                        <a:rPr b="0" baseline="0" cap="none" dirty="0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hose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/min – m</a:t>
                      </a:r>
                      <a:r>
                        <a:rPr b="0" baseline="3000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/h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333 – 1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500 –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5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250 – 13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666 – 1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666 – 1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666 – 16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77926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acuum max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err="1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Pa</a:t>
                      </a: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–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bar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7,5 – 17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 – 21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7,5 – 17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9 – 19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9 – 19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9 – 19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77493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ound pressure level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3172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ontainer capacity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07798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ain filter type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afe </a:t>
                      </a:r>
                      <a:r>
                        <a:rPr b="0" baseline="0" cap="none" dirty="0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g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syste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afe </a:t>
                      </a:r>
                      <a:r>
                        <a:rPr b="0" baseline="0" cap="none" dirty="0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bag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syste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 Class </a:t>
                      </a:r>
                      <a:r>
                        <a:rPr b="0" baseline="0" cap="none" dirty="0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artridge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</a:t>
                      </a:r>
                      <a:r>
                        <a:rPr b="0" baseline="0" cap="none" i="0" kern="1200" lang="en-US" noProof="0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eece</a:t>
                      </a: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 </a:t>
                      </a: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filter class 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Safe bag syste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 Class Cartridge 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2509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ain filter area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m</a:t>
                      </a:r>
                      <a:r>
                        <a:rPr b="0" baseline="3000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endParaRPr b="0" baseline="0" cap="none" dirty="0" i="0" kern="1200" lang="it-IT" normalizeH="0" spc="0" strike="noStrike" sz="950" u="none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charset="0" panose="02000000000000000000" pitchFamily="2" typeface="Roboto Light"/>
                        <a:ea typeface="+mn-ea"/>
                        <a:cs typeface="+mn-cs"/>
                        <a:sym typeface=""/>
                      </a:endParaRP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38699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Upstream HEPA filter H14 area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m</a:t>
                      </a:r>
                      <a:r>
                        <a:rPr b="0" baseline="3000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100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–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14099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Inlet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7785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en-US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Length x Width x Height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cm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2x7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2x7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2x77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FF0000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rgbClr val="FF0000"/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75674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defTabSz="1023967" eaLnBrk="1" fontAlgn="ctr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rgbClr val="181717">
                              <a:lumMod val="100000"/>
                            </a:srgb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Weight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95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21</a:t>
                      </a:r>
                    </a:p>
                  </a:txBody>
                  <a:tcPr anchor="ctr" marB="36576" marR="36576" marT="36576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4701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111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B9E251DD-EC8E-FC07-E37F-37CEA8C02DA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0664031-E63E-C76F-1B52-F0F4EC2877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Mini IVS range and layout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AEC6DF2-DE81-65B9-CFCB-041FAF77F6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1912A610-123B-EBF2-A61E-199D042998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32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2" name="think-cell data - do not delete">
            <a:extLst>
              <a:ext uri="{FF2B5EF4-FFF2-40B4-BE49-F238E27FC236}">
                <a16:creationId xmlns:a16="http://schemas.microsoft.com/office/drawing/2014/main" id="{B50AA764-B6AB-CC16-EEB6-446E97337A48}"/>
              </a:ext>
            </a:extLst>
          </p:cNvPr>
          <p:cNvPicPr/>
          <p:nvPr/>
        </p:nvPicPr>
        <p:blipFill>
          <a:blip r:embed="rId3"/>
          <a:stretch>
            <a:fillRect/>
          </a:stretch>
          <a:srcRect/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5A93757B-6F32-1E18-BA3F-06D79531AA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dirty="0" lang="en-US"/>
              <a:t>6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3AE036-47D7-32AD-A3F0-A3DDEA4A5F59}"/>
              </a:ext>
            </a:extLst>
          </p:cNvPr>
          <p:cNvSpPr>
            <a:spLocks noGrp="1"/>
          </p:cNvSpPr>
          <p:nvPr>
            <p:ph idx="13" sz="quarter" type="body"/>
          </p:nvPr>
        </p:nvSpPr>
        <p:spPr/>
        <p:txBody>
          <a:bodyPr/>
          <a:lstStyle/>
          <a:p>
            <a:r>
              <a:rPr lang="en-US"/>
              <a:t>Naming and product hierarchy</a:t>
            </a:r>
          </a:p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359D42-9F6D-2132-4CC2-908E940425DE}"/>
              </a:ext>
            </a:extLst>
          </p:cNvPr>
          <p:cNvSpPr>
            <a:spLocks noGrp="1"/>
          </p:cNvSpPr>
          <p:nvPr>
            <p:ph idx="15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6BD8E-4C27-43B9-E8D0-565BFE7BE8D3}"/>
              </a:ext>
            </a:extLst>
          </p:cNvPr>
          <p:cNvSpPr>
            <a:spLocks noGrp="1"/>
          </p:cNvSpPr>
          <p:nvPr>
            <p:ph idx="16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12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5D3659F-AB51-4940-9427-E8AB895AB2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6A5B0E0-FAE5-4DA3-93AA-BC843C737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aming and product hierarch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1AA395-0217-43C8-8582-DBD921AA43C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31D88A-044A-427A-BDA4-D5C48D4B9B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12" name="Titolo 6">
            <a:extLst>
              <a:ext uri="{FF2B5EF4-FFF2-40B4-BE49-F238E27FC236}">
                <a16:creationId xmlns:a16="http://schemas.microsoft.com/office/drawing/2014/main" id="{94D90709-2D38-48A5-8435-EBFA63418605}"/>
              </a:ext>
            </a:extLst>
          </p:cNvPr>
          <p:cNvSpPr txBox="1">
            <a:spLocks/>
          </p:cNvSpPr>
          <p:nvPr/>
        </p:nvSpPr>
        <p:spPr>
          <a:xfrm>
            <a:off x="941654" y="1808705"/>
            <a:ext cx="4507715" cy="436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500" dirty="0"/>
              <a:t>VHS010 HC Z22 EXA</a:t>
            </a:r>
          </a:p>
        </p:txBody>
      </p:sp>
      <p:cxnSp>
        <p:nvCxnSpPr>
          <p:cNvPr id="20" name="Connettore diritto 7">
            <a:extLst>
              <a:ext uri="{FF2B5EF4-FFF2-40B4-BE49-F238E27FC236}">
                <a16:creationId xmlns:a16="http://schemas.microsoft.com/office/drawing/2014/main" id="{2DE9D9F2-C0B9-434B-A8A0-3806D1E85B59}"/>
              </a:ext>
            </a:extLst>
          </p:cNvPr>
          <p:cNvCxnSpPr>
            <a:cxnSpLocks/>
            <a:endCxn id="21" idx="3"/>
          </p:cNvCxnSpPr>
          <p:nvPr/>
        </p:nvCxnSpPr>
        <p:spPr>
          <a:xfrm rot="5400000">
            <a:off x="1382971" y="2398013"/>
            <a:ext cx="497931" cy="9955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sellaDiTesto 7">
            <a:extLst>
              <a:ext uri="{FF2B5EF4-FFF2-40B4-BE49-F238E27FC236}">
                <a16:creationId xmlns:a16="http://schemas.microsoft.com/office/drawing/2014/main" id="{7C1D9AE2-81B0-42B7-B1BE-17F263B21D13}"/>
              </a:ext>
            </a:extLst>
          </p:cNvPr>
          <p:cNvSpPr txBox="1"/>
          <p:nvPr/>
        </p:nvSpPr>
        <p:spPr>
          <a:xfrm>
            <a:off x="490943" y="2404370"/>
            <a:ext cx="10912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77800" algn="l"/>
              </a:tabLst>
            </a:pPr>
            <a:r>
              <a:rPr lang="en-US" sz="1600">
                <a:latin typeface="Roboto Bold" panose="02000000000000000000" pitchFamily="2" charset="0"/>
              </a:rPr>
              <a:t>S: </a:t>
            </a:r>
            <a:r>
              <a:rPr lang="en-US" sz="1600"/>
              <a:t>Single </a:t>
            </a:r>
            <a:br>
              <a:rPr lang="en-US" sz="1600"/>
            </a:br>
            <a:r>
              <a:rPr lang="en-US" sz="1600"/>
              <a:t>	 Phase</a:t>
            </a:r>
            <a:endParaRPr lang="en-US" sz="1600" dirty="0"/>
          </a:p>
        </p:txBody>
      </p:sp>
      <p:sp>
        <p:nvSpPr>
          <p:cNvPr id="22" name="CasellaDiTesto 7">
            <a:extLst>
              <a:ext uri="{FF2B5EF4-FFF2-40B4-BE49-F238E27FC236}">
                <a16:creationId xmlns:a16="http://schemas.microsoft.com/office/drawing/2014/main" id="{2635ECD3-F8CA-43CC-8D0E-37C22ED11660}"/>
              </a:ext>
            </a:extLst>
          </p:cNvPr>
          <p:cNvSpPr txBox="1"/>
          <p:nvPr/>
        </p:nvSpPr>
        <p:spPr>
          <a:xfrm>
            <a:off x="2627049" y="3459546"/>
            <a:ext cx="252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Roboto Bold" panose="02000000000000000000" pitchFamily="2" charset="0"/>
              </a:rPr>
              <a:t>0: </a:t>
            </a:r>
            <a:r>
              <a:rPr lang="en-US" sz="1600" dirty="0"/>
              <a:t>320 mm platform</a:t>
            </a:r>
          </a:p>
        </p:txBody>
      </p:sp>
      <p:cxnSp>
        <p:nvCxnSpPr>
          <p:cNvPr id="25" name="Connettore diritto 19">
            <a:extLst>
              <a:ext uri="{FF2B5EF4-FFF2-40B4-BE49-F238E27FC236}">
                <a16:creationId xmlns:a16="http://schemas.microsoft.com/office/drawing/2014/main" id="{ACF1E3A8-51A9-4AC0-808C-0F79E910908D}"/>
              </a:ext>
            </a:extLst>
          </p:cNvPr>
          <p:cNvCxnSpPr>
            <a:cxnSpLocks/>
            <a:endCxn id="22" idx="1"/>
          </p:cNvCxnSpPr>
          <p:nvPr/>
        </p:nvCxnSpPr>
        <p:spPr>
          <a:xfrm rot="16200000" flipH="1">
            <a:off x="1566277" y="2568051"/>
            <a:ext cx="1430506" cy="69103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sellaDiTesto 7">
            <a:extLst>
              <a:ext uri="{FF2B5EF4-FFF2-40B4-BE49-F238E27FC236}">
                <a16:creationId xmlns:a16="http://schemas.microsoft.com/office/drawing/2014/main" id="{4CB824AF-4B1A-4FD5-B629-1A4074BF6DF1}"/>
              </a:ext>
            </a:extLst>
          </p:cNvPr>
          <p:cNvSpPr txBox="1"/>
          <p:nvPr/>
        </p:nvSpPr>
        <p:spPr>
          <a:xfrm>
            <a:off x="2627049" y="2445222"/>
            <a:ext cx="25202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Roboto Bold" panose="02000000000000000000" pitchFamily="2" charset="0"/>
              </a:rPr>
              <a:t>0: </a:t>
            </a:r>
            <a:r>
              <a:rPr lang="en-US" sz="1600"/>
              <a:t>Safe disposal</a:t>
            </a:r>
          </a:p>
          <a:p>
            <a:r>
              <a:rPr lang="en-US" sz="1600">
                <a:latin typeface="Roboto Bold" panose="02000000000000000000" pitchFamily="2" charset="0"/>
              </a:rPr>
              <a:t>1: </a:t>
            </a:r>
            <a:r>
              <a:rPr lang="en-US" sz="1600"/>
              <a:t>Pull&amp;Clean version</a:t>
            </a:r>
            <a:endParaRPr lang="en-US" sz="1600" dirty="0"/>
          </a:p>
        </p:txBody>
      </p:sp>
      <p:cxnSp>
        <p:nvCxnSpPr>
          <p:cNvPr id="27" name="Connettore diritto 25">
            <a:extLst>
              <a:ext uri="{FF2B5EF4-FFF2-40B4-BE49-F238E27FC236}">
                <a16:creationId xmlns:a16="http://schemas.microsoft.com/office/drawing/2014/main" id="{DD5A9166-4D68-4E22-8E02-F3F87573754F}"/>
              </a:ext>
            </a:extLst>
          </p:cNvPr>
          <p:cNvCxnSpPr>
            <a:cxnSpLocks/>
            <a:endCxn id="26" idx="1"/>
          </p:cNvCxnSpPr>
          <p:nvPr/>
        </p:nvCxnSpPr>
        <p:spPr>
          <a:xfrm rot="16200000" flipH="1">
            <a:off x="2268707" y="2379268"/>
            <a:ext cx="531794" cy="184889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6CE1EC2E-36BA-42A2-98A2-91E64777F2F2}"/>
              </a:ext>
            </a:extLst>
          </p:cNvPr>
          <p:cNvCxnSpPr>
            <a:cxnSpLocks/>
            <a:endCxn id="16" idx="1"/>
          </p:cNvCxnSpPr>
          <p:nvPr/>
        </p:nvCxnSpPr>
        <p:spPr>
          <a:xfrm rot="16200000" flipH="1">
            <a:off x="1884221" y="2501944"/>
            <a:ext cx="1046458" cy="43919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sellaDiTesto 7">
            <a:extLst>
              <a:ext uri="{FF2B5EF4-FFF2-40B4-BE49-F238E27FC236}">
                <a16:creationId xmlns:a16="http://schemas.microsoft.com/office/drawing/2014/main" id="{93295FB8-33C2-4A6F-AEBB-5B09B8DE970D}"/>
              </a:ext>
            </a:extLst>
          </p:cNvPr>
          <p:cNvSpPr txBox="1"/>
          <p:nvPr/>
        </p:nvSpPr>
        <p:spPr>
          <a:xfrm>
            <a:off x="2627049" y="3075495"/>
            <a:ext cx="252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latin typeface="Roboto Bold" panose="02000000000000000000" pitchFamily="2" charset="0"/>
              </a:rPr>
              <a:t>1: </a:t>
            </a:r>
            <a:r>
              <a:rPr lang="en-US" sz="1600" dirty="0"/>
              <a:t>motor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695E601-7FF5-45A2-835C-2B5FA7153F67}"/>
              </a:ext>
            </a:extLst>
          </p:cNvPr>
          <p:cNvCxnSpPr/>
          <p:nvPr/>
        </p:nvCxnSpPr>
        <p:spPr>
          <a:xfrm>
            <a:off x="1591423" y="21983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2EBBD70-DD3C-4B0C-B4D6-2573886A4842}"/>
              </a:ext>
            </a:extLst>
          </p:cNvPr>
          <p:cNvCxnSpPr/>
          <p:nvPr/>
        </p:nvCxnSpPr>
        <p:spPr>
          <a:xfrm>
            <a:off x="1840788" y="21983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4C57511-536D-4759-83F0-622190747F40}"/>
              </a:ext>
            </a:extLst>
          </p:cNvPr>
          <p:cNvCxnSpPr/>
          <p:nvPr/>
        </p:nvCxnSpPr>
        <p:spPr>
          <a:xfrm>
            <a:off x="2087948" y="21983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D03A69C-604F-42CA-BC9E-CDD7498882A5}"/>
              </a:ext>
            </a:extLst>
          </p:cNvPr>
          <p:cNvCxnSpPr/>
          <p:nvPr/>
        </p:nvCxnSpPr>
        <p:spPr>
          <a:xfrm>
            <a:off x="2363316" y="21983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itolo 6">
            <a:extLst>
              <a:ext uri="{FF2B5EF4-FFF2-40B4-BE49-F238E27FC236}">
                <a16:creationId xmlns:a16="http://schemas.microsoft.com/office/drawing/2014/main" id="{C398CA12-AE07-4619-A84E-8FD1D9C9DF48}"/>
              </a:ext>
            </a:extLst>
          </p:cNvPr>
          <p:cNvSpPr txBox="1">
            <a:spLocks/>
          </p:cNvSpPr>
          <p:nvPr/>
        </p:nvSpPr>
        <p:spPr>
          <a:xfrm>
            <a:off x="941654" y="4284405"/>
            <a:ext cx="4507715" cy="436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500"/>
              <a:t>VHS010 LC ACD</a:t>
            </a:r>
            <a:endParaRPr lang="it-IT" sz="3500" dirty="0"/>
          </a:p>
        </p:txBody>
      </p:sp>
      <p:cxnSp>
        <p:nvCxnSpPr>
          <p:cNvPr id="114" name="Connettore diritto 7">
            <a:extLst>
              <a:ext uri="{FF2B5EF4-FFF2-40B4-BE49-F238E27FC236}">
                <a16:creationId xmlns:a16="http://schemas.microsoft.com/office/drawing/2014/main" id="{AA6C4C41-7015-4B0D-8D9D-5B6FC83B93FF}"/>
              </a:ext>
            </a:extLst>
          </p:cNvPr>
          <p:cNvCxnSpPr>
            <a:cxnSpLocks/>
            <a:endCxn id="115" idx="3"/>
          </p:cNvCxnSpPr>
          <p:nvPr/>
        </p:nvCxnSpPr>
        <p:spPr>
          <a:xfrm rot="5400000">
            <a:off x="1323685" y="4814433"/>
            <a:ext cx="497931" cy="21811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CasellaDiTesto 7">
            <a:extLst>
              <a:ext uri="{FF2B5EF4-FFF2-40B4-BE49-F238E27FC236}">
                <a16:creationId xmlns:a16="http://schemas.microsoft.com/office/drawing/2014/main" id="{34153B2D-276F-40DF-94C6-C10165006721}"/>
              </a:ext>
            </a:extLst>
          </p:cNvPr>
          <p:cNvSpPr txBox="1"/>
          <p:nvPr/>
        </p:nvSpPr>
        <p:spPr>
          <a:xfrm>
            <a:off x="490942" y="4880070"/>
            <a:ext cx="9726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77800" algn="l"/>
              </a:tabLst>
            </a:pPr>
            <a:r>
              <a:rPr lang="en-US" sz="1600">
                <a:latin typeface="Roboto Bold" panose="02000000000000000000" pitchFamily="2" charset="0"/>
              </a:rPr>
              <a:t>S: </a:t>
            </a:r>
            <a:r>
              <a:rPr lang="en-US" sz="1600"/>
              <a:t>Single </a:t>
            </a:r>
            <a:br>
              <a:rPr lang="en-US" sz="1600"/>
            </a:br>
            <a:r>
              <a:rPr lang="en-US" sz="1600"/>
              <a:t>	 Phase</a:t>
            </a:r>
            <a:endParaRPr lang="en-US" sz="1600" dirty="0"/>
          </a:p>
        </p:txBody>
      </p:sp>
      <p:sp>
        <p:nvSpPr>
          <p:cNvPr id="116" name="CasellaDiTesto 7">
            <a:extLst>
              <a:ext uri="{FF2B5EF4-FFF2-40B4-BE49-F238E27FC236}">
                <a16:creationId xmlns:a16="http://schemas.microsoft.com/office/drawing/2014/main" id="{A2391596-F200-474A-A74E-62562F39D282}"/>
              </a:ext>
            </a:extLst>
          </p:cNvPr>
          <p:cNvSpPr txBox="1"/>
          <p:nvPr/>
        </p:nvSpPr>
        <p:spPr>
          <a:xfrm>
            <a:off x="2627049" y="5935246"/>
            <a:ext cx="252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Roboto Bold" panose="02000000000000000000" pitchFamily="2" charset="0"/>
              </a:rPr>
              <a:t>0:</a:t>
            </a:r>
            <a:r>
              <a:rPr lang="en-US" sz="1600" dirty="0"/>
              <a:t> 320 mm platform</a:t>
            </a:r>
          </a:p>
        </p:txBody>
      </p:sp>
      <p:cxnSp>
        <p:nvCxnSpPr>
          <p:cNvPr id="117" name="Connettore diritto 19">
            <a:extLst>
              <a:ext uri="{FF2B5EF4-FFF2-40B4-BE49-F238E27FC236}">
                <a16:creationId xmlns:a16="http://schemas.microsoft.com/office/drawing/2014/main" id="{6718E121-45C3-4311-8F79-5ED6BD673BFA}"/>
              </a:ext>
            </a:extLst>
          </p:cNvPr>
          <p:cNvCxnSpPr>
            <a:cxnSpLocks/>
            <a:endCxn id="116" idx="1"/>
          </p:cNvCxnSpPr>
          <p:nvPr/>
        </p:nvCxnSpPr>
        <p:spPr>
          <a:xfrm rot="16200000" flipH="1">
            <a:off x="1566277" y="5043751"/>
            <a:ext cx="1430506" cy="69103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CasellaDiTesto 7">
            <a:extLst>
              <a:ext uri="{FF2B5EF4-FFF2-40B4-BE49-F238E27FC236}">
                <a16:creationId xmlns:a16="http://schemas.microsoft.com/office/drawing/2014/main" id="{F8B57C8E-7565-4D23-9CAD-3C3310DAD0DC}"/>
              </a:ext>
            </a:extLst>
          </p:cNvPr>
          <p:cNvSpPr txBox="1"/>
          <p:nvPr/>
        </p:nvSpPr>
        <p:spPr>
          <a:xfrm>
            <a:off x="2627049" y="4930447"/>
            <a:ext cx="25202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latin typeface="Roboto Bold" panose="02000000000000000000" pitchFamily="2" charset="0"/>
              </a:rPr>
              <a:t>0: </a:t>
            </a:r>
            <a:r>
              <a:rPr lang="en-US" sz="1600"/>
              <a:t>Safe disposal</a:t>
            </a:r>
          </a:p>
          <a:p>
            <a:r>
              <a:rPr lang="en-US" sz="1600">
                <a:latin typeface="Roboto Bold" panose="02000000000000000000" pitchFamily="2" charset="0"/>
              </a:rPr>
              <a:t>1: </a:t>
            </a:r>
            <a:r>
              <a:rPr lang="en-US" sz="1600"/>
              <a:t>Pull&amp;Clean version</a:t>
            </a:r>
            <a:endParaRPr lang="en-US" sz="1600" dirty="0"/>
          </a:p>
        </p:txBody>
      </p:sp>
      <p:cxnSp>
        <p:nvCxnSpPr>
          <p:cNvPr id="119" name="Connettore diritto 25">
            <a:extLst>
              <a:ext uri="{FF2B5EF4-FFF2-40B4-BE49-F238E27FC236}">
                <a16:creationId xmlns:a16="http://schemas.microsoft.com/office/drawing/2014/main" id="{2C74046A-0A27-4C01-9CB7-E3365FA8F9AE}"/>
              </a:ext>
            </a:extLst>
          </p:cNvPr>
          <p:cNvCxnSpPr>
            <a:cxnSpLocks/>
            <a:endCxn id="118" idx="1"/>
          </p:cNvCxnSpPr>
          <p:nvPr/>
        </p:nvCxnSpPr>
        <p:spPr>
          <a:xfrm rot="16200000" flipH="1">
            <a:off x="2268707" y="4864493"/>
            <a:ext cx="531794" cy="184889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ttore diritto 14">
            <a:extLst>
              <a:ext uri="{FF2B5EF4-FFF2-40B4-BE49-F238E27FC236}">
                <a16:creationId xmlns:a16="http://schemas.microsoft.com/office/drawing/2014/main" id="{EDF6F16D-DDBD-424E-A51D-294659F3CF80}"/>
              </a:ext>
            </a:extLst>
          </p:cNvPr>
          <p:cNvCxnSpPr>
            <a:cxnSpLocks/>
            <a:endCxn id="123" idx="1"/>
          </p:cNvCxnSpPr>
          <p:nvPr/>
        </p:nvCxnSpPr>
        <p:spPr>
          <a:xfrm rot="16200000" flipH="1">
            <a:off x="1884221" y="4977644"/>
            <a:ext cx="1046458" cy="43919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CasellaDiTesto 7">
            <a:extLst>
              <a:ext uri="{FF2B5EF4-FFF2-40B4-BE49-F238E27FC236}">
                <a16:creationId xmlns:a16="http://schemas.microsoft.com/office/drawing/2014/main" id="{FDA85491-0655-49CB-9B10-FD992766C5D0}"/>
              </a:ext>
            </a:extLst>
          </p:cNvPr>
          <p:cNvSpPr txBox="1"/>
          <p:nvPr/>
        </p:nvSpPr>
        <p:spPr>
          <a:xfrm>
            <a:off x="2627049" y="5551195"/>
            <a:ext cx="252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latin typeface="Roboto Bold" panose="02000000000000000000" pitchFamily="2" charset="0"/>
              </a:rPr>
              <a:t>1: </a:t>
            </a:r>
            <a:r>
              <a:rPr lang="en-US" sz="1600" dirty="0"/>
              <a:t>motor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BD3DA53D-66C5-470F-B28B-E5E426B03429}"/>
              </a:ext>
            </a:extLst>
          </p:cNvPr>
          <p:cNvCxnSpPr/>
          <p:nvPr/>
        </p:nvCxnSpPr>
        <p:spPr>
          <a:xfrm>
            <a:off x="1591423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36282DF-8CBD-476A-B97E-57105A779481}"/>
              </a:ext>
            </a:extLst>
          </p:cNvPr>
          <p:cNvCxnSpPr/>
          <p:nvPr/>
        </p:nvCxnSpPr>
        <p:spPr>
          <a:xfrm>
            <a:off x="1840788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4FE5E6A2-7CB9-41C8-B4EE-C6C6EF0A72BA}"/>
              </a:ext>
            </a:extLst>
          </p:cNvPr>
          <p:cNvCxnSpPr/>
          <p:nvPr/>
        </p:nvCxnSpPr>
        <p:spPr>
          <a:xfrm>
            <a:off x="2087948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E015601C-3A66-41F7-963E-445E4D05FAA6}"/>
              </a:ext>
            </a:extLst>
          </p:cNvPr>
          <p:cNvCxnSpPr/>
          <p:nvPr/>
        </p:nvCxnSpPr>
        <p:spPr>
          <a:xfrm>
            <a:off x="2363316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145">
            <a:extLst>
              <a:ext uri="{FF2B5EF4-FFF2-40B4-BE49-F238E27FC236}">
                <a16:creationId xmlns:a16="http://schemas.microsoft.com/office/drawing/2014/main" id="{12C52A5F-80E2-42E0-BCC0-FF47CEA4902D}"/>
              </a:ext>
            </a:extLst>
          </p:cNvPr>
          <p:cNvSpPr/>
          <p:nvPr/>
        </p:nvSpPr>
        <p:spPr>
          <a:xfrm>
            <a:off x="6993842" y="0"/>
            <a:ext cx="5198158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47" name="Content Placeholder 14">
            <a:extLst>
              <a:ext uri="{FF2B5EF4-FFF2-40B4-BE49-F238E27FC236}">
                <a16:creationId xmlns:a16="http://schemas.microsoft.com/office/drawing/2014/main" id="{599039EF-707D-4DA6-92E4-C2DB9569BA24}"/>
              </a:ext>
            </a:extLst>
          </p:cNvPr>
          <p:cNvSpPr txBox="1">
            <a:spLocks/>
          </p:cNvSpPr>
          <p:nvPr/>
        </p:nvSpPr>
        <p:spPr>
          <a:xfrm>
            <a:off x="7553993" y="466725"/>
            <a:ext cx="3659439" cy="55201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>
                <a:latin typeface="Roboto Bold" panose="02000000000000000000" pitchFamily="2" charset="0"/>
              </a:rPr>
              <a:t>L3 = Single-phase explosion proof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US" sz="105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50">
                <a:latin typeface="Roboto Bold" panose="02000000000000000000" pitchFamily="2" charset="0"/>
              </a:rPr>
              <a:t>L4 = VHS01 Z22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50">
                <a:latin typeface="Roboto Bold" panose="02000000000000000000" pitchFamily="2" charset="0"/>
              </a:rPr>
              <a:t>L5 = VHS01 Z22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50">
                <a:latin typeface="Roboto Bold" panose="02000000000000000000" pitchFamily="2" charset="0"/>
              </a:rPr>
              <a:t>L6: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VHS010 LC Z22 EXA LC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VHS010 HC Z22 EXA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VHS011 LC Z22 EXA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VHS011 LC Z22 EXA V110 UKP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VHS010 HC Z22 EXA UKP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……..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endParaRPr lang="en-US" sz="1050"/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50">
                <a:latin typeface="Roboto Bold" panose="02000000000000000000" pitchFamily="2" charset="0"/>
              </a:rPr>
              <a:t>L4 = VHS01 ACD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50">
                <a:latin typeface="Roboto Bold" panose="02000000000000000000" pitchFamily="2" charset="0"/>
              </a:rPr>
              <a:t>L5 = VHS01 ACD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50">
                <a:latin typeface="Roboto Bold" panose="02000000000000000000" pitchFamily="2" charset="0"/>
              </a:rPr>
              <a:t>L6: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L6: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VHS010 LC ACD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VHS010 HC ACD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VHS011 LC ACD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VHS011 LC ACD AU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en-US" sz="1050"/>
              <a:t>………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</a:pPr>
            <a:r>
              <a:rPr lang="en-US" sz="1050"/>
              <a:t>	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50">
                <a:latin typeface="Roboto Bold" panose="02000000000000000000" pitchFamily="2" charset="0"/>
              </a:rPr>
              <a:t>L4 = VHS01 C2D2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50">
                <a:latin typeface="Roboto Bold" panose="02000000000000000000" pitchFamily="2" charset="0"/>
              </a:rPr>
              <a:t>L5 = VHS01 C2D2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050">
                <a:latin typeface="Roboto Bold" panose="02000000000000000000" pitchFamily="2" charset="0"/>
              </a:rPr>
              <a:t>L6: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fr-FR" sz="1050"/>
              <a:t>VHS011 C2D2 AU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fr-FR" sz="1050"/>
              <a:t>VHS011 C2D2 AU 3X FPAT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fr-FR" sz="1050"/>
              <a:t>VHS010 C2D2 HC ACD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r>
              <a:rPr lang="fr-FR" sz="1050"/>
              <a:t>…………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</a:pPr>
            <a:endParaRPr lang="en-US" sz="110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2DEF1AB7-3AA4-45B6-8872-DB39C381D59D}"/>
              </a:ext>
            </a:extLst>
          </p:cNvPr>
          <p:cNvGrpSpPr/>
          <p:nvPr/>
        </p:nvGrpSpPr>
        <p:grpSpPr>
          <a:xfrm>
            <a:off x="9862460" y="1314198"/>
            <a:ext cx="1681840" cy="1323984"/>
            <a:chOff x="7567039" y="1647027"/>
            <a:chExt cx="1398462" cy="1100902"/>
          </a:xfrm>
        </p:grpSpPr>
        <p:pic>
          <p:nvPicPr>
            <p:cNvPr id="149" name="Immagine 21">
              <a:extLst>
                <a:ext uri="{FF2B5EF4-FFF2-40B4-BE49-F238E27FC236}">
                  <a16:creationId xmlns:a16="http://schemas.microsoft.com/office/drawing/2014/main" id="{36C3A062-7B46-4C29-9585-48F10356A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67039" y="1667584"/>
              <a:ext cx="659078" cy="1080345"/>
            </a:xfrm>
            <a:prstGeom prst="rect">
              <a:avLst/>
            </a:prstGeom>
          </p:spPr>
        </p:pic>
        <p:pic>
          <p:nvPicPr>
            <p:cNvPr id="150" name="Immagine 23">
              <a:extLst>
                <a:ext uri="{FF2B5EF4-FFF2-40B4-BE49-F238E27FC236}">
                  <a16:creationId xmlns:a16="http://schemas.microsoft.com/office/drawing/2014/main" id="{38EAC960-1A9D-4E71-B024-DFB30B96EA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85099" y="1647027"/>
              <a:ext cx="680402" cy="1092410"/>
            </a:xfrm>
            <a:prstGeom prst="rect">
              <a:avLst/>
            </a:prstGeom>
          </p:spPr>
        </p:pic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CC15B22-6EC7-47F2-BEE4-2F2DBDF44960}"/>
              </a:ext>
            </a:extLst>
          </p:cNvPr>
          <p:cNvGrpSpPr/>
          <p:nvPr/>
        </p:nvGrpSpPr>
        <p:grpSpPr>
          <a:xfrm>
            <a:off x="9860953" y="4740510"/>
            <a:ext cx="1699739" cy="1313770"/>
            <a:chOff x="7552155" y="5413411"/>
            <a:chExt cx="1413345" cy="1092410"/>
          </a:xfrm>
        </p:grpSpPr>
        <p:pic>
          <p:nvPicPr>
            <p:cNvPr id="157" name="Immagine 27">
              <a:extLst>
                <a:ext uri="{FF2B5EF4-FFF2-40B4-BE49-F238E27FC236}">
                  <a16:creationId xmlns:a16="http://schemas.microsoft.com/office/drawing/2014/main" id="{6853864B-1C80-4D98-B43D-22C8B8898C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52155" y="5415530"/>
              <a:ext cx="659078" cy="1080345"/>
            </a:xfrm>
            <a:prstGeom prst="rect">
              <a:avLst/>
            </a:prstGeom>
          </p:spPr>
        </p:pic>
        <p:pic>
          <p:nvPicPr>
            <p:cNvPr id="158" name="Immagine 29">
              <a:extLst>
                <a:ext uri="{FF2B5EF4-FFF2-40B4-BE49-F238E27FC236}">
                  <a16:creationId xmlns:a16="http://schemas.microsoft.com/office/drawing/2014/main" id="{DF2E66F0-F589-4226-BA9B-16D87160C9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85099" y="5413411"/>
              <a:ext cx="680401" cy="1092410"/>
            </a:xfrm>
            <a:prstGeom prst="rect">
              <a:avLst/>
            </a:prstGeom>
          </p:spPr>
        </p:pic>
      </p:grpSp>
      <p:cxnSp>
        <p:nvCxnSpPr>
          <p:cNvPr id="28" name="Connettore diritto 28">
            <a:extLst>
              <a:ext uri="{FF2B5EF4-FFF2-40B4-BE49-F238E27FC236}">
                <a16:creationId xmlns:a16="http://schemas.microsoft.com/office/drawing/2014/main" id="{44669B7A-D287-4FD3-829A-F3FC1BB28767}"/>
              </a:ext>
            </a:extLst>
          </p:cNvPr>
          <p:cNvCxnSpPr>
            <a:cxnSpLocks/>
            <a:endCxn id="29" idx="0"/>
          </p:cNvCxnSpPr>
          <p:nvPr/>
        </p:nvCxnSpPr>
        <p:spPr>
          <a:xfrm>
            <a:off x="4064714" y="2198313"/>
            <a:ext cx="1436469" cy="503735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asellaDiTesto 7">
            <a:extLst>
              <a:ext uri="{FF2B5EF4-FFF2-40B4-BE49-F238E27FC236}">
                <a16:creationId xmlns:a16="http://schemas.microsoft.com/office/drawing/2014/main" id="{1193DD67-C6A2-4F6F-9705-A94728634498}"/>
              </a:ext>
            </a:extLst>
          </p:cNvPr>
          <p:cNvSpPr txBox="1"/>
          <p:nvPr/>
        </p:nvSpPr>
        <p:spPr>
          <a:xfrm>
            <a:off x="4917572" y="2702048"/>
            <a:ext cx="1167221" cy="292388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/>
              <a:t>Acronyms</a:t>
            </a:r>
            <a:endParaRPr lang="en-US" sz="1600" dirty="0"/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702A867D-43D9-418D-88E7-3F28A6CB3023}"/>
              </a:ext>
            </a:extLst>
          </p:cNvPr>
          <p:cNvCxnSpPr>
            <a:cxnSpLocks/>
          </p:cNvCxnSpPr>
          <p:nvPr/>
        </p:nvCxnSpPr>
        <p:spPr>
          <a:xfrm>
            <a:off x="2722271" y="2198319"/>
            <a:ext cx="2425058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79CAB843-3149-4453-8C02-D2EE8D688A9B}"/>
              </a:ext>
            </a:extLst>
          </p:cNvPr>
          <p:cNvGrpSpPr/>
          <p:nvPr/>
        </p:nvGrpSpPr>
        <p:grpSpPr>
          <a:xfrm>
            <a:off x="2722271" y="4674014"/>
            <a:ext cx="3362522" cy="796123"/>
            <a:chOff x="2722271" y="2198313"/>
            <a:chExt cx="3362522" cy="796123"/>
          </a:xfrm>
        </p:grpSpPr>
        <p:cxnSp>
          <p:nvCxnSpPr>
            <p:cNvPr id="167" name="Connettore diritto 28">
              <a:extLst>
                <a:ext uri="{FF2B5EF4-FFF2-40B4-BE49-F238E27FC236}">
                  <a16:creationId xmlns:a16="http://schemas.microsoft.com/office/drawing/2014/main" id="{31DA7428-2FE8-4D36-8754-772F1DD351C3}"/>
                </a:ext>
              </a:extLst>
            </p:cNvPr>
            <p:cNvCxnSpPr>
              <a:cxnSpLocks/>
              <a:endCxn id="168" idx="0"/>
            </p:cNvCxnSpPr>
            <p:nvPr/>
          </p:nvCxnSpPr>
          <p:spPr>
            <a:xfrm>
              <a:off x="4064714" y="2198313"/>
              <a:ext cx="1436469" cy="503735"/>
            </a:xfrm>
            <a:prstGeom prst="bentConnector2">
              <a:avLst/>
            </a:prstGeom>
            <a:ln w="6350">
              <a:solidFill>
                <a:schemeClr val="accent3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8" name="CasellaDiTesto 7">
              <a:extLst>
                <a:ext uri="{FF2B5EF4-FFF2-40B4-BE49-F238E27FC236}">
                  <a16:creationId xmlns:a16="http://schemas.microsoft.com/office/drawing/2014/main" id="{189B853A-4CE7-4538-92CF-217F54C9DBF8}"/>
                </a:ext>
              </a:extLst>
            </p:cNvPr>
            <p:cNvSpPr txBox="1"/>
            <p:nvPr/>
          </p:nvSpPr>
          <p:spPr>
            <a:xfrm>
              <a:off x="4917572" y="2702048"/>
              <a:ext cx="1167221" cy="292388"/>
            </a:xfrm>
            <a:prstGeom prst="rect">
              <a:avLst/>
            </a:prstGeom>
            <a:noFill/>
          </p:spPr>
          <p:txBody>
            <a:bodyPr wrap="square" bIns="0" rtlCol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/>
                <a:t>Acronyms</a:t>
              </a:r>
              <a:endParaRPr lang="en-US" sz="1600" dirty="0"/>
            </a:p>
          </p:txBody>
        </p: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32EEF9BF-2993-4260-B412-391C8A5C1C9A}"/>
                </a:ext>
              </a:extLst>
            </p:cNvPr>
            <p:cNvCxnSpPr>
              <a:cxnSpLocks/>
            </p:cNvCxnSpPr>
            <p:nvPr/>
          </p:nvCxnSpPr>
          <p:spPr>
            <a:xfrm>
              <a:off x="2722271" y="2198319"/>
              <a:ext cx="2425058" cy="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DA570473-57B1-4CFF-AA1A-2321AC475D94}"/>
              </a:ext>
            </a:extLst>
          </p:cNvPr>
          <p:cNvGrpSpPr/>
          <p:nvPr/>
        </p:nvGrpSpPr>
        <p:grpSpPr>
          <a:xfrm>
            <a:off x="9882426" y="3188931"/>
            <a:ext cx="1596943" cy="1151683"/>
            <a:chOff x="9882426" y="3144896"/>
            <a:chExt cx="1596943" cy="1151683"/>
          </a:xfrm>
        </p:grpSpPr>
        <p:pic>
          <p:nvPicPr>
            <p:cNvPr id="155" name="Immagine 55">
              <a:extLst>
                <a:ext uri="{FF2B5EF4-FFF2-40B4-BE49-F238E27FC236}">
                  <a16:creationId xmlns:a16="http://schemas.microsoft.com/office/drawing/2014/main" id="{4DF3B58C-3810-4847-9C72-BAD78EBEB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882426" y="3155758"/>
              <a:ext cx="734355" cy="1108543"/>
            </a:xfrm>
            <a:prstGeom prst="rect">
              <a:avLst/>
            </a:prstGeom>
          </p:spPr>
        </p:pic>
        <p:pic>
          <p:nvPicPr>
            <p:cNvPr id="172" name="Picture 171">
              <a:extLst>
                <a:ext uri="{FF2B5EF4-FFF2-40B4-BE49-F238E27FC236}">
                  <a16:creationId xmlns:a16="http://schemas.microsoft.com/office/drawing/2014/main" id="{B91DEDFF-52BA-48B1-8DD1-74D0A08174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45074" y="3144896"/>
              <a:ext cx="734295" cy="11516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2822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4AD3DDF-965D-41FE-8558-B31784728167}"/>
              </a:ext>
            </a:extLst>
          </p:cNvPr>
          <p:cNvSpPr/>
          <p:nvPr/>
        </p:nvSpPr>
        <p:spPr>
          <a:xfrm>
            <a:off x="6993842" y="0"/>
            <a:ext cx="5198158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Segnaposto piè di pagina 1">
            <a:extLst>
              <a:ext uri="{FF2B5EF4-FFF2-40B4-BE49-F238E27FC236}">
                <a16:creationId xmlns:a16="http://schemas.microsoft.com/office/drawing/2014/main" id="{C017CAA3-37D2-B6E9-7E8A-3DEEA320D463}"/>
              </a:ext>
            </a:extLst>
          </p:cNvPr>
          <p:cNvSpPr>
            <a:spLocks noGrp="1"/>
          </p:cNvSpPr>
          <p:nvPr>
            <p:ph idx="21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7EF11CCC-4140-4B08-8744-ACCD02829526}"/>
              </a:ext>
            </a:extLst>
          </p:cNvPr>
          <p:cNvSpPr>
            <a:spLocks noGrp="1"/>
          </p:cNvSpPr>
          <p:nvPr>
            <p:ph idx="2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2</a:t>
            </a:fld>
            <a:endParaRPr lang="en-US"/>
          </a:p>
        </p:txBody>
      </p:sp>
      <p:graphicFrame>
        <p:nvGraphicFramePr>
          <p:cNvPr id="9" name="Tabella 9">
            <a:extLst>
              <a:ext uri="{FF2B5EF4-FFF2-40B4-BE49-F238E27FC236}">
                <a16:creationId xmlns:a16="http://schemas.microsoft.com/office/drawing/2014/main" id="{30406C26-1624-C110-D2F7-392F83D7E3AA}"/>
              </a:ext>
            </a:extLst>
          </p:cNvPr>
          <p:cNvGraphicFramePr>
            <a:graphicFrameLocks noGrp="1"/>
          </p:cNvGraphicFramePr>
          <p:nvPr>
            <p:ph idx="18" sz="quarter"/>
            <p:extLst>
              <p:ext uri="{D42A27DB-BD31-4B8C-83A1-F6EECF244321}">
                <p14:modId xmlns:p14="http://schemas.microsoft.com/office/powerpoint/2010/main" val="2233961663"/>
              </p:ext>
            </p:extLst>
          </p:nvPr>
        </p:nvGraphicFramePr>
        <p:xfrm>
          <a:off x="504078" y="1218600"/>
          <a:ext cx="5760720" cy="4962144"/>
        </p:xfrm>
        <a:graphic>
          <a:graphicData uri="http://schemas.openxmlformats.org/drawingml/2006/table">
            <a:tbl>
              <a:tblPr bandRow="1" firstRow="1">
                <a:effectLst/>
                <a:tableStyleId>{2D5ABB26-0587-4C30-8999-92F81FD0307C}</a:tableStyleId>
              </a:tblPr>
              <a:tblGrid>
                <a:gridCol w="2286000">
                  <a:extLst>
                    <a:ext uri="{9D8B030D-6E8A-4147-A177-3AD203B41FA5}">
                      <a16:colId xmlns:a16="http://schemas.microsoft.com/office/drawing/2014/main" val="3760106067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1051769914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2664494718"/>
                    </a:ext>
                  </a:extLst>
                </a:gridCol>
              </a:tblGrid>
              <a:tr h="201421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Model </a:t>
                      </a:r>
                      <a:r>
                        <a:rPr b="0" baseline="0" cap="none" dirty="0" err="1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type</a:t>
                      </a: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 </a:t>
                      </a:r>
                    </a:p>
                  </a:txBody>
                  <a:tcPr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latin charset="0" panose="02000000000000000000" pitchFamily="2" typeface="Roboto Bold"/>
                          <a:ea typeface="+mn-ea"/>
                          <a:cs typeface="+mn-cs"/>
                          <a:sym typeface=""/>
                        </a:rPr>
                        <a:t>PN</a:t>
                      </a:r>
                      <a:endParaRPr b="0" baseline="0" cap="none" dirty="0" i="0" kern="1200" lang="it-IT" normalizeH="0" spc="0" strike="noStrike" sz="1000" u="none">
                        <a:solidFill>
                          <a:schemeClr val="tx1">
                            <a:lumMod val="100000"/>
                          </a:schemeClr>
                        </a:solidFill>
                        <a:latin charset="0" panose="02000000000000000000" pitchFamily="2" typeface="Roboto Bold"/>
                        <a:ea typeface="+mn-ea"/>
                        <a:cs typeface="+mn-cs"/>
                        <a:sym typeface=""/>
                      </a:endParaRPr>
                    </a:p>
                  </a:txBody>
                  <a:tcPr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tc>
                  <a:txBody>
                    <a:bodyPr/>
                    <a:lstStyle/>
                    <a:p>
                      <a:pPr defTabSz="1023967"/>
                      <a:endParaRPr dirty="0" lang="it-IT" sz="1000">
                        <a:latin typeface="+mn-lt"/>
                      </a:endParaRPr>
                    </a:p>
                  </a:txBody>
                  <a:tcPr>
                    <a:lnB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46047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0 HC ACD UKP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7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UK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22651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0 HC ACD V110 UKP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5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428816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1 LC ACD UKP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6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000189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1 LC ACD V110 UKP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4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958284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pl-PL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0 HC Z22 EXA V110 UKP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8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097415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pl-PL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1 LC Z22 EXA V110 UKP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7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43039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0 LC ACD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2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rowSpan="8"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EU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3783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0 HC ACD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3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79025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1 LC ACD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0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24795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1 LC ACD AU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1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02435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0 LC Z22 EXA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5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143907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0 HC Z22 EXA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6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1055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1 LC Z22 EXA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3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666021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fr-FR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1 LC Z22 EXA AU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4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542211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0N1 HC ACD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30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US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99207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0N1 LC ACD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9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95811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1N1 LC ACD AU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28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30120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VHS011N1 LC C2D2 AU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b="0" baseline="0" cap="none" dirty="0" i="0" kern="1200" lang="it-IT" normalizeH="0" spc="0" strike="noStrike" sz="1000" u="none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charset="0" panose="02000000000000000000" pitchFamily="2" typeface="Roboto Light"/>
                          <a:ea typeface="+mn-ea"/>
                          <a:cs typeface="+mn-cs"/>
                          <a:sym typeface=""/>
                        </a:rPr>
                        <a:t>4010100119</a:t>
                      </a:r>
                    </a:p>
                  </a:txBody>
                  <a:tcPr anchor="ctr" marB="54864" marT="54864">
                    <a:lnT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12700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 lang="it-IT" sz="100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799243"/>
                  </a:ext>
                </a:extLst>
              </a:tr>
            </a:tbl>
          </a:graphicData>
        </a:graphic>
      </p:graphicFrame>
      <p:pic>
        <p:nvPicPr>
          <p:cNvPr id="8" name="Segnaposto contenuto 7">
            <a:extLst>
              <a:ext uri="{FF2B5EF4-FFF2-40B4-BE49-F238E27FC236}">
                <a16:creationId xmlns:a16="http://schemas.microsoft.com/office/drawing/2014/main" id="{92927DD2-C9B3-4A73-8187-C5F6697EE6F5}"/>
              </a:ext>
            </a:extLst>
          </p:cNvPr>
          <p:cNvPicPr>
            <a:picLocks noChangeAspect="1" noGrp="1"/>
          </p:cNvPicPr>
          <p:nvPr>
            <p:ph idx="23" sz="quarter"/>
          </p:nvPr>
        </p:nvPicPr>
        <p:blipFill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2"/>
          <a:stretch/>
        </p:blipFill>
        <p:spPr>
          <a:xfrm>
            <a:off x="7829111" y="772145"/>
            <a:ext cx="1513714" cy="2374246"/>
          </a:xfrm>
          <a:noFill/>
          <a:ln>
            <a:noFill/>
          </a:ln>
          <a:effectLst/>
        </p:spPr>
      </p:pic>
      <p:sp>
        <p:nvSpPr>
          <p:cNvPr id="7" name="Titolo 6">
            <a:extLst>
              <a:ext uri="{FF2B5EF4-FFF2-40B4-BE49-F238E27FC236}">
                <a16:creationId xmlns:a16="http://schemas.microsoft.com/office/drawing/2014/main" id="{6F146031-A11B-B9BF-B4D1-B10EA5DCB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644" y="375972"/>
            <a:ext cx="5420088" cy="388013"/>
          </a:xfrm>
        </p:spPr>
        <p:txBody>
          <a:bodyPr/>
          <a:lstStyle/>
          <a:p>
            <a:r>
              <a:rPr dirty="0" lang="en-US"/>
              <a:t>PNs and versions available at launch date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DF3BBF3C-01DF-8BC7-3AD4-D4926081C595}"/>
              </a:ext>
            </a:extLst>
          </p:cNvPr>
          <p:cNvPicPr>
            <a:picLocks noChangeAspect="1"/>
          </p:cNvPicPr>
          <p:nvPr/>
        </p:nvPicPr>
        <p:blipFill>
          <a:blip cstate="email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2"/>
          <a:stretch/>
        </p:blipFill>
        <p:spPr>
          <a:xfrm>
            <a:off x="9771295" y="763985"/>
            <a:ext cx="1491284" cy="2444582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37361B9B-B298-C90E-0501-9DAE46377BD5}"/>
              </a:ext>
            </a:extLst>
          </p:cNvPr>
          <p:cNvPicPr>
            <a:picLocks noChangeAspect="1"/>
          </p:cNvPicPr>
          <p:nvPr/>
        </p:nvPicPr>
        <p:blipFill>
          <a:blip cstate="email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2"/>
          <a:stretch/>
        </p:blipFill>
        <p:spPr>
          <a:xfrm>
            <a:off x="7829108" y="3435025"/>
            <a:ext cx="1513718" cy="2430430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AD0A8DF3-6BAE-46AA-AF86-D68D234C032A}"/>
              </a:ext>
            </a:extLst>
          </p:cNvPr>
          <p:cNvPicPr>
            <a:picLocks noChangeAspect="1"/>
          </p:cNvPicPr>
          <p:nvPr/>
        </p:nvPicPr>
        <p:blipFill>
          <a:blip cstate="email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5" r="615"/>
          <a:stretch/>
        </p:blipFill>
        <p:spPr>
          <a:xfrm>
            <a:off x="9736563" y="3518804"/>
            <a:ext cx="1491284" cy="236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8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hidden="1" id="10" name="think-cell data - do not delete">
            <a:extLst>
              <a:ext uri="{FF2B5EF4-FFF2-40B4-BE49-F238E27FC236}">
                <a16:creationId xmlns:a16="http://schemas.microsoft.com/office/drawing/2014/main" id="{D40A2813-EE29-7AB1-1382-F623A9ABE377}"/>
              </a:ext>
            </a:extLst>
          </p:cNvPr>
          <p:cNvPicPr/>
          <p:nvPr/>
        </p:nvPicPr>
        <p:blipFill>
          <a:blip r:embed="rId4"/>
          <a:stretch>
            <a:fillRect/>
          </a:stretch>
          <a:srcRect/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4E8B85-6FA8-289D-0BDC-D254FDBB438C}"/>
              </a:ext>
            </a:extLst>
          </p:cNvPr>
          <p:cNvSpPr>
            <a:spLocks noGrp="1"/>
          </p:cNvSpPr>
          <p:nvPr>
            <p:ph idx="11" sz="quarter" type="ftr"/>
          </p:nvPr>
        </p:nvSpPr>
        <p:spPr/>
        <p:txBody>
          <a:bodyPr/>
          <a:lstStyle/>
          <a:p>
            <a:r>
              <a:rPr lang="en-US" noProof="0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214730-260D-B9A6-DDF5-378B0B9A95F6}"/>
              </a:ext>
            </a:extLst>
          </p:cNvPr>
          <p:cNvSpPr>
            <a:spLocks noGrp="1"/>
          </p:cNvSpPr>
          <p:nvPr>
            <p:ph idx="12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8E1B92A-2528-2060-ABBC-56103A577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ct val="102513"/>
              </a:lnSpc>
            </a:pPr>
            <a:r>
              <a:rPr dirty="0" err="1" lang="it-IT"/>
              <a:t>Introducing</a:t>
            </a:r>
            <a:r>
              <a:rPr dirty="0" lang="it-IT"/>
              <a:t> the mini industrial </a:t>
            </a:r>
            <a:r>
              <a:rPr dirty="0" err="1" lang="it-IT"/>
              <a:t>vacuums</a:t>
            </a:r>
            <a:endParaRPr dirty="0" lang="en-US">
              <a:ea typeface="Roboto Bold"/>
              <a:cs typeface="Roboto Bold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94B8877-A360-C3CA-CFB9-C3331BBD785F}"/>
              </a:ext>
            </a:extLst>
          </p:cNvPr>
          <p:cNvSpPr>
            <a:spLocks noGrp="1"/>
          </p:cNvSpPr>
          <p:nvPr>
            <p:ph idx="13" sz="quarter"/>
          </p:nvPr>
        </p:nvSpPr>
        <p:spPr>
          <a:xfrm>
            <a:off x="479425" y="1087654"/>
            <a:ext cx="3411855" cy="5595301"/>
          </a:xfrm>
        </p:spPr>
        <p:txBody>
          <a:bodyPr/>
          <a:lstStyle/>
          <a:p>
            <a:pPr indent="0" marL="0">
              <a:buNone/>
            </a:pPr>
            <a:endParaRPr lang="en-US" sz="1800"/>
          </a:p>
          <a:p>
            <a:pPr indent="0" marL="0">
              <a:buNone/>
            </a:pPr>
            <a:endParaRPr lang="en-DK" sz="1800"/>
          </a:p>
          <a:p>
            <a:pPr indent="0" marL="0">
              <a:buNone/>
            </a:pPr>
            <a:endParaRPr lang="en-DK" sz="180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D3DA1A8-20DE-AB15-429A-044D292DF492}"/>
              </a:ext>
            </a:extLst>
          </p:cNvPr>
          <p:cNvSpPr txBox="1">
            <a:spLocks/>
          </p:cNvSpPr>
          <p:nvPr/>
        </p:nvSpPr>
        <p:spPr>
          <a:xfrm>
            <a:off x="683493" y="2614405"/>
            <a:ext cx="4826965" cy="2202140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0" latinLnBrk="0" marL="199104" rtl="0">
              <a:spcBef>
                <a:spcPct val="20000"/>
              </a:spcBef>
              <a:buFont charset="0" panose="020B0604020202020204" pitchFamily="34" typeface="Arial"/>
              <a:buNone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DK" sz="1800"/>
              <a:t>Meet N</a:t>
            </a:r>
            <a:r>
              <a:rPr dirty="0" err="1" lang="en-US" sz="1800"/>
              <a:t>ilfisk</a:t>
            </a:r>
            <a:r>
              <a:rPr dirty="0" lang="en-DK" sz="1800"/>
              <a:t>’s </a:t>
            </a:r>
            <a:r>
              <a:rPr dirty="0" lang="it-IT" sz="1800"/>
              <a:t>Mini </a:t>
            </a:r>
            <a:r>
              <a:rPr dirty="0" lang="en-DK" sz="1800"/>
              <a:t>Industrial Vac</a:t>
            </a:r>
            <a:r>
              <a:rPr dirty="0" err="1" lang="it-IT" sz="1800"/>
              <a:t>uum</a:t>
            </a:r>
            <a:r>
              <a:rPr dirty="0" lang="en-DK" sz="1800"/>
              <a:t>s </a:t>
            </a:r>
          </a:p>
          <a:p>
            <a:pPr>
              <a:spcBef>
                <a:spcPts val="0"/>
              </a:spcBef>
            </a:pPr>
            <a:r>
              <a:rPr dirty="0" lang="en-DK" sz="2800">
                <a:solidFill>
                  <a:srgbClr val="28313F"/>
                </a:solidFill>
                <a:latin typeface="+mj-lt"/>
                <a:ea typeface="Roboto Bold"/>
                <a:cs typeface="Roboto Bold"/>
              </a:rPr>
              <a:t>Small but mighty.</a:t>
            </a:r>
          </a:p>
          <a:p>
            <a:pPr>
              <a:spcBef>
                <a:spcPts val="0"/>
              </a:spcBef>
            </a:pPr>
            <a:r>
              <a:rPr dirty="0" lang="en-DK" sz="2000"/>
              <a:t>Maximum performance, safety, and flexibil</a:t>
            </a:r>
            <a:r>
              <a:rPr dirty="0" err="1" lang="en-US" sz="2000"/>
              <a:t>i</a:t>
            </a:r>
            <a:r>
              <a:rPr dirty="0" lang="en-DK" sz="2000"/>
              <a:t>ty. Minimum footprint. 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D376307B-2632-D136-47A7-26587F9DF6E2}"/>
              </a:ext>
            </a:extLst>
          </p:cNvPr>
          <p:cNvSpPr txBox="1">
            <a:spLocks/>
          </p:cNvSpPr>
          <p:nvPr/>
        </p:nvSpPr>
        <p:spPr>
          <a:xfrm>
            <a:off x="6096000" y="1634121"/>
            <a:ext cx="5445807" cy="4227183"/>
          </a:xfrm>
          <a:prstGeom prst="rect">
            <a:avLst/>
          </a:prstGeom>
        </p:spPr>
        <p:txBody>
          <a:bodyPr anchor="t" bIns="0" lIns="0" rIns="0" rtlCol="0" tIns="0" vert="horz">
            <a:noAutofit/>
          </a:bodyPr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buNone/>
            </a:pPr>
            <a:r>
              <a:rPr dirty="0" lang="en-US" sz="1100">
                <a:ea typeface="Roboto Light"/>
                <a:cs typeface="Roboto Light"/>
              </a:rPr>
              <a:t>Say hello to </a:t>
            </a:r>
            <a:r>
              <a:rPr dirty="0" err="1" lang="en-US" sz="1100">
                <a:ea typeface="Roboto Light"/>
                <a:cs typeface="Roboto Light"/>
              </a:rPr>
              <a:t>Nilfisk’s</a:t>
            </a:r>
            <a:r>
              <a:rPr dirty="0" lang="en-US" sz="1100">
                <a:ea typeface="Roboto Light"/>
                <a:cs typeface="Roboto Light"/>
              </a:rPr>
              <a:t> new range of mini industrial vacuums. Don’t let their size fool you – you still get all the power, safety, and durability you find in our larger vacs, just with a smaller, more flexible footprint. In a nutshell, your needs have been built into every aspect of our Mini Industrial Vacuums.</a:t>
            </a:r>
          </a:p>
          <a:p>
            <a:pPr indent="0" marL="0">
              <a:buNone/>
            </a:pPr>
            <a:endParaRPr dirty="0" lang="en-US" sz="1100">
              <a:ea typeface="Roboto Light"/>
              <a:cs typeface="Roboto Light"/>
            </a:endParaRPr>
          </a:p>
          <a:p>
            <a:pPr indent="0" marL="0">
              <a:buNone/>
            </a:pPr>
            <a:r>
              <a:rPr dirty="0" lang="en-US" sz="1100">
                <a:ea typeface="Roboto Light"/>
                <a:cs typeface="Roboto Light"/>
              </a:rPr>
              <a:t>The range consists of four distinct </a:t>
            </a:r>
            <a:r>
              <a:rPr dirty="0" lang="en-DK" sz="1100">
                <a:ea typeface="Roboto Light"/>
                <a:cs typeface="Roboto Light"/>
              </a:rPr>
              <a:t>model</a:t>
            </a:r>
            <a:r>
              <a:rPr dirty="0" lang="en-US" sz="1100">
                <a:ea typeface="Roboto Light"/>
                <a:cs typeface="Roboto Light"/>
              </a:rPr>
              <a:t>s, each built to address specific levels of safety needs for hazardous, combustible, and conductive dust. </a:t>
            </a:r>
            <a:r>
              <a:rPr dirty="0" lang="en-DK" sz="1100">
                <a:ea typeface="Roboto Light"/>
                <a:cs typeface="Roboto Light"/>
              </a:rPr>
              <a:t>With filters that meet t</a:t>
            </a:r>
            <a:r>
              <a:rPr dirty="0" lang="en-US" sz="1100">
                <a:ea typeface="Roboto Light"/>
                <a:cs typeface="Roboto Light"/>
              </a:rPr>
              <a:t>he</a:t>
            </a:r>
            <a:r>
              <a:rPr dirty="0" lang="en-DK" sz="1100">
                <a:ea typeface="Roboto Light"/>
                <a:cs typeface="Roboto Light"/>
              </a:rPr>
              <a:t> highest levels of safety requirements, </a:t>
            </a:r>
            <a:r>
              <a:rPr dirty="0" lang="en-US" sz="1100">
                <a:ea typeface="Roboto Light"/>
                <a:cs typeface="Roboto Light"/>
              </a:rPr>
              <a:t>the range ensures a secure, dust-free environment. D</a:t>
            </a:r>
            <a:r>
              <a:rPr dirty="0" lang="en-DK" sz="1100">
                <a:ea typeface="Roboto Light"/>
                <a:cs typeface="Roboto Light"/>
              </a:rPr>
              <a:t>on’t take our word for it – all our vacs are 3rd party certified to comply with global safety regulations.</a:t>
            </a:r>
            <a:endParaRPr dirty="0" lang="en-US" sz="1100">
              <a:ea typeface="Roboto Light"/>
              <a:cs typeface="Roboto Light"/>
            </a:endParaRPr>
          </a:p>
          <a:p>
            <a:pPr indent="0" marL="0">
              <a:buNone/>
            </a:pPr>
            <a:endParaRPr dirty="0" lang="en-US" sz="1100">
              <a:ea typeface="Roboto Light"/>
              <a:cs typeface="Roboto Light"/>
            </a:endParaRPr>
          </a:p>
          <a:p>
            <a:pPr indent="0" marL="0">
              <a:buNone/>
            </a:pPr>
            <a:r>
              <a:rPr dirty="0" lang="en-US" sz="1100">
                <a:ea typeface="Roboto Light"/>
                <a:cs typeface="Roboto Light"/>
              </a:rPr>
              <a:t>Small but mighty, Nilfisk Mini Industrial Vacuums provide uncompromised power, featuring the most efficient motor in their class. You will experience a perfect blend of safety, affordability, and unparalleled suction capability, ensuring optimal cleaning performance without sacrificing power. </a:t>
            </a:r>
          </a:p>
          <a:p>
            <a:pPr indent="0" marL="0">
              <a:buNone/>
            </a:pPr>
            <a:endParaRPr dirty="0" lang="en-US" sz="1100">
              <a:ea typeface="Roboto Light"/>
              <a:cs typeface="Roboto Light"/>
            </a:endParaRPr>
          </a:p>
          <a:p>
            <a:pPr indent="0" marL="0">
              <a:buNone/>
            </a:pPr>
            <a:r>
              <a:rPr dirty="0" lang="en-US" sz="1100">
                <a:ea typeface="Roboto Light"/>
                <a:cs typeface="Roboto Light"/>
              </a:rPr>
              <a:t>Whether complementing your larger vacuums or as a standalone vac in smaller production settings with low to medium quantities of dust, our range seamlessly adapts to your unique cleaning needs. It’s a versatile powerhouse that will quickly become your go-to solution for </a:t>
            </a:r>
            <a:r>
              <a:rPr dirty="0" lang="en-DK" sz="1100">
                <a:ea typeface="Roboto Light"/>
                <a:cs typeface="Roboto Light"/>
              </a:rPr>
              <a:t>ensuring workplace safety </a:t>
            </a:r>
            <a:r>
              <a:rPr dirty="0" lang="en-US" sz="1100">
                <a:ea typeface="Roboto Light"/>
                <a:cs typeface="Roboto Light"/>
              </a:rPr>
              <a:t>and high-performance cleaning in even the tightest spaces.</a:t>
            </a:r>
          </a:p>
          <a:p>
            <a:pPr indent="0" marL="0">
              <a:buNone/>
            </a:pPr>
            <a:endParaRPr dirty="0" lang="en-US" sz="1100">
              <a:ea typeface="Roboto Light"/>
              <a:cs typeface="Roboto Light"/>
            </a:endParaRPr>
          </a:p>
          <a:p>
            <a:pPr indent="0" marL="0">
              <a:buNone/>
            </a:pPr>
            <a:r>
              <a:rPr dirty="0" lang="en-US" sz="1100">
                <a:ea typeface="Roboto Light"/>
                <a:cs typeface="Roboto Light"/>
              </a:rPr>
              <a:t>Nilfisk Industrial Vacuum Solutions. Your Needs Built In. </a:t>
            </a:r>
          </a:p>
          <a:p>
            <a:pPr indent="0" marL="0">
              <a:buNone/>
            </a:pPr>
            <a:endParaRPr dirty="0" lang="en-US" sz="1100">
              <a:ea typeface="Roboto Light"/>
              <a:cs typeface="Roboto Light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F48D2EE-E8B6-95E9-14AA-5AAA0F0EA34C}"/>
              </a:ext>
            </a:extLst>
          </p:cNvPr>
          <p:cNvCxnSpPr/>
          <p:nvPr/>
        </p:nvCxnSpPr>
        <p:spPr>
          <a:xfrm>
            <a:off x="5430660" y="1634121"/>
            <a:ext cx="0" cy="434848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07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83A5C0A-5963-E17D-AF41-1B55C42CF7BE}"/>
              </a:ext>
            </a:extLst>
          </p:cNvPr>
          <p:cNvSpPr/>
          <p:nvPr/>
        </p:nvSpPr>
        <p:spPr>
          <a:xfrm>
            <a:off x="6885975" y="0"/>
            <a:ext cx="5337775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720E18C-F89A-87BF-0D14-882286CD4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i IV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0F82BB-ADA7-EB7C-45E8-5063AAE935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DD8C14-8CC9-4EE9-484F-A7179DFA7F0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D47A9C56-430B-697A-5F2D-D0CFC857BA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1837652"/>
            <a:ext cx="5432860" cy="1273176"/>
          </a:xfrm>
        </p:spPr>
        <p:txBody>
          <a:bodyPr anchor="t" anchorCtr="0"/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DK" sz="1200" spc="50" dirty="0">
                <a:latin typeface="Roboto regular" panose="02000000000000000000" pitchFamily="2" charset="0"/>
                <a:ea typeface="Roboto regular" panose="02000000000000000000" pitchFamily="2" charset="0"/>
                <a:cs typeface="Roboto regular" panose="02000000000000000000" pitchFamily="2" charset="0"/>
              </a:rPr>
              <a:t>MEET NILFISK’S MINI INDUSTRIAL VACUUMS </a:t>
            </a:r>
            <a:endParaRPr lang="en-US" sz="1200" spc="50" dirty="0">
              <a:latin typeface="Roboto regular" panose="02000000000000000000" pitchFamily="2" charset="0"/>
              <a:ea typeface="Roboto regular" panose="02000000000000000000" pitchFamily="2" charset="0"/>
              <a:cs typeface="Roboto regular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400" dirty="0">
                <a:latin typeface="Roboto Bold" panose="02000000000000000000" pitchFamily="2" charset="0"/>
              </a:rPr>
              <a:t>Small but mighty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dirty="0"/>
              <a:t>Maximum performance, safety, and flexibility. Minimum footprint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BA59D5-BE35-2F30-8D0F-195889EA0555}"/>
              </a:ext>
            </a:extLst>
          </p:cNvPr>
          <p:cNvSpPr txBox="1"/>
          <p:nvPr/>
        </p:nvSpPr>
        <p:spPr>
          <a:xfrm>
            <a:off x="6885975" y="1412874"/>
            <a:ext cx="4826600" cy="4556971"/>
          </a:xfrm>
          <a:prstGeom prst="rect">
            <a:avLst/>
          </a:prstGeom>
          <a:noFill/>
        </p:spPr>
        <p:txBody>
          <a:bodyPr wrap="square" lIns="360000" tIns="0" rIns="0" bIns="360000">
            <a:spAutoFit/>
          </a:bodyPr>
          <a:lstStyle/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200" dirty="0">
                <a:latin typeface="Roboto Bold" panose="02000000000000000000" pitchFamily="2" charset="0"/>
              </a:rPr>
              <a:t>Introduction</a:t>
            </a: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200" dirty="0">
                <a:latin typeface="Roboto Light" panose="02000000000000000000" pitchFamily="2" charset="0"/>
              </a:rPr>
              <a:t>Mini-IVS is a platform of industrial vacuum cleaners designed to meet the customer demand for a small and light solution for the safe recovery of low to medium quantities of combustible dust and hazardous dust in classified and not classified zones.</a:t>
            </a: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sz="1200" dirty="0">
              <a:latin typeface="Roboto Light" panose="02000000000000000000" pitchFamily="2" charset="0"/>
            </a:endParaRP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200" dirty="0">
                <a:latin typeface="Roboto Light" panose="02000000000000000000" pitchFamily="2" charset="0"/>
              </a:rPr>
              <a:t>The range includes basic and premium models to meet different needs in terms of cost/features. All the models are third party certified (ATEX, </a:t>
            </a:r>
            <a:r>
              <a:rPr lang="da-DK" sz="1100" dirty="0"/>
              <a:t>CIID2</a:t>
            </a:r>
            <a:r>
              <a:rPr lang="en-US" sz="1200" dirty="0">
                <a:latin typeface="Roboto Light" panose="02000000000000000000" pitchFamily="2" charset="0"/>
              </a:rPr>
              <a:t>, ACD, M and H). </a:t>
            </a: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sz="1200" dirty="0">
              <a:latin typeface="Roboto Light" panose="02000000000000000000" pitchFamily="2" charset="0"/>
            </a:endParaRP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200" dirty="0">
                <a:latin typeface="Roboto Bold" panose="02000000000000000000" pitchFamily="2" charset="0"/>
              </a:rPr>
              <a:t>Range key features: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latin typeface="Roboto Light" panose="02000000000000000000" pitchFamily="2" charset="0"/>
              </a:rPr>
              <a:t>One layout with safe disposal – body 010;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latin typeface="Roboto Light" panose="02000000000000000000" pitchFamily="2" charset="0"/>
              </a:rPr>
              <a:t>One layout with pull clean filter cleaning system without needs of consumable – body 011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latin typeface="Roboto Light" panose="02000000000000000000" pitchFamily="2" charset="0"/>
              </a:rPr>
              <a:t>Lightweight and robust, perfect solution for fast and frequent cleaning job also in narrow spaces or when the are obstacles on the floors or difficult places to reach</a:t>
            </a:r>
          </a:p>
          <a:p>
            <a:pPr marL="177800" indent="-177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latin typeface="Roboto Light" panose="02000000000000000000" pitchFamily="2" charset="0"/>
              </a:rPr>
              <a:t>New dedicated range of industrial reduced footprint accessories, EXA and AC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3DABDF-966A-470C-95CD-ADCA6F69C627}"/>
              </a:ext>
            </a:extLst>
          </p:cNvPr>
          <p:cNvGrpSpPr/>
          <p:nvPr/>
        </p:nvGrpSpPr>
        <p:grpSpPr>
          <a:xfrm>
            <a:off x="479425" y="3647069"/>
            <a:ext cx="5686508" cy="2039377"/>
            <a:chOff x="479425" y="4298035"/>
            <a:chExt cx="5686508" cy="2039377"/>
          </a:xfrm>
        </p:grpSpPr>
        <p:pic>
          <p:nvPicPr>
            <p:cNvPr id="10" name="Immagine 13">
              <a:extLst>
                <a:ext uri="{FF2B5EF4-FFF2-40B4-BE49-F238E27FC236}">
                  <a16:creationId xmlns:a16="http://schemas.microsoft.com/office/drawing/2014/main" id="{2471A2CD-EDD6-A0A2-E603-09D99E712D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97935" y="4348656"/>
              <a:ext cx="1267998" cy="1988756"/>
            </a:xfrm>
            <a:prstGeom prst="rect">
              <a:avLst/>
            </a:prstGeom>
          </p:spPr>
        </p:pic>
        <p:pic>
          <p:nvPicPr>
            <p:cNvPr id="11" name="Immagine 15">
              <a:extLst>
                <a:ext uri="{FF2B5EF4-FFF2-40B4-BE49-F238E27FC236}">
                  <a16:creationId xmlns:a16="http://schemas.microsoft.com/office/drawing/2014/main" id="{1F432CF8-4F0B-AF13-1FBD-B0C819597B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08177" y="4298035"/>
              <a:ext cx="1244148" cy="2039376"/>
            </a:xfrm>
            <a:prstGeom prst="rect">
              <a:avLst/>
            </a:prstGeom>
          </p:spPr>
        </p:pic>
        <p:pic>
          <p:nvPicPr>
            <p:cNvPr id="12" name="Immagine 10">
              <a:extLst>
                <a:ext uri="{FF2B5EF4-FFF2-40B4-BE49-F238E27FC236}">
                  <a16:creationId xmlns:a16="http://schemas.microsoft.com/office/drawing/2014/main" id="{E9C6446E-2B00-01FD-76CA-455CB3935A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9425" y="4309471"/>
              <a:ext cx="1238685" cy="1988755"/>
            </a:xfrm>
            <a:prstGeom prst="rect">
              <a:avLst/>
            </a:prstGeom>
          </p:spPr>
        </p:pic>
        <p:pic>
          <p:nvPicPr>
            <p:cNvPr id="13" name="Immagine 28">
              <a:extLst>
                <a:ext uri="{FF2B5EF4-FFF2-40B4-BE49-F238E27FC236}">
                  <a16:creationId xmlns:a16="http://schemas.microsoft.com/office/drawing/2014/main" id="{059342E1-2869-5036-6951-620F29A8E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71758" y="4428308"/>
              <a:ext cx="1239985" cy="1871817"/>
            </a:xfrm>
            <a:prstGeom prst="rect">
              <a:avLst/>
            </a:prstGeom>
          </p:spPr>
        </p:pic>
      </p:grp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D699F29-E982-3A9F-7835-95609EF635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US"/>
              <a:t>Range introduction</a:t>
            </a:r>
          </a:p>
        </p:txBody>
      </p:sp>
    </p:spTree>
    <p:extLst>
      <p:ext uri="{BB962C8B-B14F-4D97-AF65-F5344CB8AC3E}">
        <p14:creationId xmlns:p14="http://schemas.microsoft.com/office/powerpoint/2010/main" val="127469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Immagine 28">
            <a:extLst>
              <a:ext uri="{FF2B5EF4-FFF2-40B4-BE49-F238E27FC236}">
                <a16:creationId xmlns:a16="http://schemas.microsoft.com/office/drawing/2014/main" id="{2C09957A-CAF9-DBA7-C48F-747F4D5ACA29}"/>
              </a:ext>
            </a:extLst>
          </p:cNvPr>
          <p:cNvPicPr>
            <a:picLocks noChangeAspect="1"/>
          </p:cNvPicPr>
          <p:nvPr/>
        </p:nvPicPr>
        <p:blipFill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14854" y="545317"/>
            <a:ext cx="1420499" cy="214431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22EF2F7F-E465-F414-548F-59BFA6DAEB7C}"/>
              </a:ext>
            </a:extLst>
          </p:cNvPr>
          <p:cNvSpPr/>
          <p:nvPr/>
        </p:nvSpPr>
        <p:spPr>
          <a:xfrm>
            <a:off x="4771558" y="0"/>
            <a:ext cx="742044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FFA08E-40BE-CB6F-29A3-1B52F886EBFD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r>
              <a:rPr lang="en-US"/>
              <a:t>Layou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78256B-B963-85FF-C3EC-5DD641035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i IV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03F844-C426-7790-6B11-D44D4BEB3971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C8AB8B-5BDD-ABF8-0A08-CA041B4C0142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6FE912-C082-2F24-2A30-9C39B323451D}"/>
              </a:ext>
            </a:extLst>
          </p:cNvPr>
          <p:cNvSpPr txBox="1"/>
          <p:nvPr/>
        </p:nvSpPr>
        <p:spPr>
          <a:xfrm>
            <a:off x="480154" y="2366903"/>
            <a:ext cx="4083537" cy="2054665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charset="0" panose="020B0604020202020204" pitchFamily="34" typeface="Arial"/>
              <a:buNone/>
            </a:pPr>
            <a:r>
              <a:rPr lang="en-GB" sz="3400">
                <a:latin typeface="+mj-lt"/>
              </a:rPr>
              <a:t>Safe disposal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4 models available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Container, 30L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Configuration: bag filter + safety filter H14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Suitable for combustible dust and ATEX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Suitable for hazardous dusts L or H</a:t>
            </a:r>
          </a:p>
        </p:txBody>
      </p:sp>
      <p:pic>
        <p:nvPicPr>
          <p:cNvPr id="44" name="Immagine 4">
            <a:extLst>
              <a:ext uri="{FF2B5EF4-FFF2-40B4-BE49-F238E27FC236}">
                <a16:creationId xmlns:a16="http://schemas.microsoft.com/office/drawing/2014/main" id="{16424F83-B539-1FEC-27E0-CD9482D1EC60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7"/>
          <a:stretch/>
        </p:blipFill>
        <p:spPr>
          <a:xfrm>
            <a:off x="5039211" y="2748097"/>
            <a:ext cx="1447570" cy="1534606"/>
          </a:xfrm>
          <a:prstGeom prst="rect">
            <a:avLst/>
          </a:prstGeom>
        </p:spPr>
      </p:pic>
      <p:pic>
        <p:nvPicPr>
          <p:cNvPr id="45" name="Immagine 91">
            <a:extLst>
              <a:ext uri="{FF2B5EF4-FFF2-40B4-BE49-F238E27FC236}">
                <a16:creationId xmlns:a16="http://schemas.microsoft.com/office/drawing/2014/main" id="{0B2E33C3-7C9F-53B3-5FF8-B875168B5158}"/>
              </a:ext>
            </a:extLst>
          </p:cNvPr>
          <p:cNvPicPr>
            <a:picLocks noChangeAspect="1"/>
          </p:cNvPicPr>
          <p:nvPr/>
        </p:nvPicPr>
        <p:blipFill>
          <a:blip cstate="email"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b="96104" l="2817" r="89789" t="7792">
                        <a14:foregroundMark x1="8803" x2="8803" y1="48052" y2="48052"/>
                        <a14:foregroundMark x1="8099" x2="8099" y1="62987" y2="62987"/>
                        <a14:foregroundMark x1="5986" x2="5986" y1="76623" y2="76623"/>
                        <a14:foregroundMark x1="3873" x2="3873" y1="78571" y2="78571"/>
                        <a14:foregroundMark x1="52817" x2="52817" y1="82468" y2="82468"/>
                        <a14:foregroundMark x1="54225" x2="54225" y1="90260" y2="90260"/>
                        <a14:foregroundMark x1="55634" x2="55634" y1="92208" y2="92208"/>
                        <a14:foregroundMark x1="57394" x2="57394" y1="92857" y2="92857"/>
                        <a14:foregroundMark x1="64437" x2="14437" y1="96104" y2="92857"/>
                        <a14:foregroundMark x1="15845" x2="72183" y1="94156" y2="96753"/>
                        <a14:foregroundMark x1="49648" x2="48239" y1="7792" y2="27922"/>
                        <a14:backgroundMark x1="28873" x2="28873" y1="11688" y2="1168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7850" y="1388430"/>
            <a:ext cx="926468" cy="502380"/>
          </a:xfrm>
          <a:prstGeom prst="rect">
            <a:avLst/>
          </a:prstGeom>
        </p:spPr>
      </p:pic>
      <p:pic>
        <p:nvPicPr>
          <p:cNvPr id="46" name="Immagine 78">
            <a:extLst>
              <a:ext uri="{FF2B5EF4-FFF2-40B4-BE49-F238E27FC236}">
                <a16:creationId xmlns:a16="http://schemas.microsoft.com/office/drawing/2014/main" id="{5BB93A73-BD29-3BA8-1B2F-588C02A9452B}"/>
              </a:ext>
            </a:extLst>
          </p:cNvPr>
          <p:cNvPicPr>
            <a:picLocks noChangeAspect="1"/>
          </p:cNvPicPr>
          <p:nvPr/>
        </p:nvPicPr>
        <p:blipFill>
          <a:blip cstate="email"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b="98558" l="6061" r="93266" t="7212">
                        <a14:foregroundMark x1="20202" x2="68350" y1="87019" y2="86058"/>
                        <a14:foregroundMark x1="66667" x2="27609" y1="81250" y2="99519"/>
                        <a14:foregroundMark x1="16498" x2="78114" y1="89904" y2="82692"/>
                        <a14:foregroundMark x1="78114" x2="87879" y1="82692" y2="99519"/>
                        <a14:foregroundMark x1="93266" x2="93266" y1="85096" y2="85096"/>
                        <a14:foregroundMark x1="6061" x2="6061" y1="86058" y2="86058"/>
                        <a14:foregroundMark x1="49495" x2="49495" y1="11058" y2="11058"/>
                        <a14:foregroundMark x1="68687" x2="68687" y1="8173" y2="8173"/>
                        <a14:foregroundMark x1="32660" x2="32660" y1="7212" y2="721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9504" y="4380940"/>
            <a:ext cx="932460" cy="653036"/>
          </a:xfrm>
          <a:prstGeom prst="rect">
            <a:avLst/>
          </a:prstGeom>
        </p:spPr>
      </p:pic>
      <p:pic>
        <p:nvPicPr>
          <p:cNvPr id="47" name="Immagine 14">
            <a:extLst>
              <a:ext uri="{FF2B5EF4-FFF2-40B4-BE49-F238E27FC236}">
                <a16:creationId xmlns:a16="http://schemas.microsoft.com/office/drawing/2014/main" id="{16EC189E-48DC-4929-318A-FE565A6194F7}"/>
              </a:ext>
            </a:extLst>
          </p:cNvPr>
          <p:cNvPicPr>
            <a:picLocks noChangeAspect="1"/>
          </p:cNvPicPr>
          <p:nvPr/>
        </p:nvPicPr>
        <p:blipFill>
          <a:blip cstate="email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2"/>
          <a:stretch/>
        </p:blipFill>
        <p:spPr>
          <a:xfrm>
            <a:off x="9891176" y="3484497"/>
            <a:ext cx="1447574" cy="232423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0274B8B1-F20E-D8F8-C04A-45EC27ECF3C0}"/>
              </a:ext>
            </a:extLst>
          </p:cNvPr>
          <p:cNvSpPr txBox="1"/>
          <p:nvPr/>
        </p:nvSpPr>
        <p:spPr>
          <a:xfrm>
            <a:off x="4729711" y="4128814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latin charset="0" panose="02000000000000000000" pitchFamily="2" typeface="Roboto Bold"/>
              </a:rPr>
              <a:t>Body VHS010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8A1E605-EDF6-9F84-99FB-1B5691EAC8E0}"/>
              </a:ext>
            </a:extLst>
          </p:cNvPr>
          <p:cNvSpPr txBox="1"/>
          <p:nvPr/>
        </p:nvSpPr>
        <p:spPr>
          <a:xfrm>
            <a:off x="7157766" y="1904858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accent3"/>
                </a:solidFill>
                <a:latin charset="0" panose="02000000000000000000" pitchFamily="2" typeface="Roboto Bold"/>
              </a:rPr>
              <a:t>IP44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79B0BA6-B004-5CFF-DD0D-8ABC70B37987}"/>
              </a:ext>
            </a:extLst>
          </p:cNvPr>
          <p:cNvSpPr txBox="1"/>
          <p:nvPr/>
        </p:nvSpPr>
        <p:spPr>
          <a:xfrm>
            <a:off x="7102416" y="5033976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accent6"/>
                </a:solidFill>
                <a:latin charset="0" panose="02000000000000000000" pitchFamily="2" typeface="Roboto Bold"/>
              </a:rPr>
              <a:t>IP65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063922F-B053-1AB7-7516-517ABE2F1BCD}"/>
              </a:ext>
            </a:extLst>
          </p:cNvPr>
          <p:cNvCxnSpPr>
            <a:cxnSpLocks/>
          </p:cNvCxnSpPr>
          <p:nvPr/>
        </p:nvCxnSpPr>
        <p:spPr>
          <a:xfrm>
            <a:off x="6486846" y="3255897"/>
            <a:ext cx="3095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5858CA1D-58F5-AA14-7DEE-3FE9D92818B4}"/>
              </a:ext>
            </a:extLst>
          </p:cNvPr>
          <p:cNvCxnSpPr>
            <a:cxnSpLocks/>
            <a:endCxn id="45" idx="1"/>
          </p:cNvCxnSpPr>
          <p:nvPr/>
        </p:nvCxnSpPr>
        <p:spPr>
          <a:xfrm flipH="1" flipV="1" rot="5400000">
            <a:off x="6449804" y="1986163"/>
            <a:ext cx="1624589" cy="931504"/>
          </a:xfrm>
          <a:prstGeom prst="bentConnector2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0952FD70-093F-7DE7-8F3D-6C285743EFA0}"/>
              </a:ext>
            </a:extLst>
          </p:cNvPr>
          <p:cNvCxnSpPr>
            <a:cxnSpLocks/>
            <a:endCxn id="46" idx="1"/>
          </p:cNvCxnSpPr>
          <p:nvPr/>
        </p:nvCxnSpPr>
        <p:spPr>
          <a:xfrm flipH="1" rot="16200000">
            <a:off x="6507147" y="3545100"/>
            <a:ext cx="1451559" cy="873156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4CE646D7-6D52-0F54-07A2-FA981D00BB59}"/>
              </a:ext>
            </a:extLst>
          </p:cNvPr>
          <p:cNvSpPr txBox="1"/>
          <p:nvPr/>
        </p:nvSpPr>
        <p:spPr>
          <a:xfrm>
            <a:off x="9580786" y="2517811"/>
            <a:ext cx="206663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latin charset="0" panose="02000000000000000000" pitchFamily="2" typeface="Roboto Bold"/>
              </a:rPr>
              <a:t>VHS010 HC ACD</a:t>
            </a:r>
          </a:p>
          <a:p>
            <a:pPr algn="ctr"/>
            <a:r>
              <a:rPr lang="en-US" sz="1400">
                <a:latin charset="0" panose="02000000000000000000" pitchFamily="2" typeface="Roboto Bold"/>
              </a:rPr>
              <a:t>VHS010 LC ACD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33103CE-7D77-D6F6-2354-81E354F508E6}"/>
              </a:ext>
            </a:extLst>
          </p:cNvPr>
          <p:cNvSpPr txBox="1"/>
          <p:nvPr/>
        </p:nvSpPr>
        <p:spPr>
          <a:xfrm>
            <a:off x="9580786" y="5596335"/>
            <a:ext cx="206663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400">
                <a:latin charset="0" panose="02000000000000000000" pitchFamily="2" typeface="Roboto Bold"/>
              </a:rPr>
              <a:t>VHS010 HC Z22 EXA</a:t>
            </a:r>
          </a:p>
          <a:p>
            <a:pPr algn="ctr"/>
            <a:r>
              <a:rPr lang="pl-PL" sz="1400">
                <a:latin charset="0" panose="02000000000000000000" pitchFamily="2" typeface="Roboto Bold"/>
              </a:rPr>
              <a:t>VHS010 LC Z22 EXA 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98DABB7-219F-F492-4FD7-A5C9F62ADA1C}"/>
              </a:ext>
            </a:extLst>
          </p:cNvPr>
          <p:cNvCxnSpPr>
            <a:cxnSpLocks/>
          </p:cNvCxnSpPr>
          <p:nvPr/>
        </p:nvCxnSpPr>
        <p:spPr>
          <a:xfrm>
            <a:off x="8654318" y="1639620"/>
            <a:ext cx="140785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A338CED-823B-D9D9-70DF-71D62960022F}"/>
              </a:ext>
            </a:extLst>
          </p:cNvPr>
          <p:cNvCxnSpPr>
            <a:cxnSpLocks/>
          </p:cNvCxnSpPr>
          <p:nvPr/>
        </p:nvCxnSpPr>
        <p:spPr>
          <a:xfrm>
            <a:off x="8654318" y="4707458"/>
            <a:ext cx="140785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Picture 34">
            <a:extLst>
              <a:ext uri="{FF2B5EF4-FFF2-40B4-BE49-F238E27FC236}">
                <a16:creationId xmlns:a16="http://schemas.microsoft.com/office/drawing/2014/main" id="{74E7C80C-02BB-9320-2F65-EF5BD60145CD}"/>
              </a:ext>
            </a:extLst>
          </p:cNvPr>
          <p:cNvPicPr>
            <a:picLocks noChangeAspect="1"/>
          </p:cNvPicPr>
          <p:nvPr/>
        </p:nvPicPr>
        <p:blipFill>
          <a:blip cstate="email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7931" y="927191"/>
            <a:ext cx="952721" cy="33524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8" name="Immagine 66">
            <a:extLst>
              <a:ext uri="{FF2B5EF4-FFF2-40B4-BE49-F238E27FC236}">
                <a16:creationId xmlns:a16="http://schemas.microsoft.com/office/drawing/2014/main" id="{5A5F5029-E6F4-2825-47DC-C683096A04F9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4350" t="-18910"/>
          <a:stretch/>
        </p:blipFill>
        <p:spPr>
          <a:xfrm>
            <a:off x="9349578" y="3805637"/>
            <a:ext cx="565131" cy="653036"/>
          </a:xfrm>
          <a:prstGeom prst="rect">
            <a:avLst/>
          </a:prstGeom>
        </p:spPr>
      </p:pic>
      <p:pic>
        <p:nvPicPr>
          <p:cNvPr id="9" name="Immagine 28">
            <a:extLst>
              <a:ext uri="{FF2B5EF4-FFF2-40B4-BE49-F238E27FC236}">
                <a16:creationId xmlns:a16="http://schemas.microsoft.com/office/drawing/2014/main" id="{0DF75249-5470-BFF2-996A-99294E450364}"/>
              </a:ext>
            </a:extLst>
          </p:cNvPr>
          <p:cNvPicPr>
            <a:picLocks noChangeAspect="1"/>
          </p:cNvPicPr>
          <p:nvPr/>
        </p:nvPicPr>
        <p:blipFill>
          <a:blip cstate="print"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14854" y="545317"/>
            <a:ext cx="1420498" cy="214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7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23B11939-3860-4531-9AA0-5ECAB7FCE9BA}"/>
              </a:ext>
            </a:extLst>
          </p:cNvPr>
          <p:cNvSpPr/>
          <p:nvPr/>
        </p:nvSpPr>
        <p:spPr>
          <a:xfrm>
            <a:off x="4771558" y="0"/>
            <a:ext cx="742044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0" name="Immagine 16">
            <a:extLst>
              <a:ext uri="{FF2B5EF4-FFF2-40B4-BE49-F238E27FC236}">
                <a16:creationId xmlns:a16="http://schemas.microsoft.com/office/drawing/2014/main" id="{2A9E5933-5A01-7EE5-A5EF-79505D08CCB3}"/>
              </a:ext>
            </a:extLst>
          </p:cNvPr>
          <p:cNvPicPr>
            <a:picLocks noChangeAspect="1"/>
          </p:cNvPicPr>
          <p:nvPr/>
        </p:nvPicPr>
        <p:blipFill>
          <a:blip cstate="email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r="2"/>
          <a:stretch/>
        </p:blipFill>
        <p:spPr>
          <a:xfrm>
            <a:off x="9883272" y="3415396"/>
            <a:ext cx="1473743" cy="2415828"/>
          </a:xfrm>
          <a:prstGeom prst="rect">
            <a:avLst/>
          </a:prstGeom>
        </p:spPr>
      </p:pic>
      <p:pic>
        <p:nvPicPr>
          <p:cNvPr id="9" name="Immagine 2">
            <a:extLst>
              <a:ext uri="{FF2B5EF4-FFF2-40B4-BE49-F238E27FC236}">
                <a16:creationId xmlns:a16="http://schemas.microsoft.com/office/drawing/2014/main" id="{97E17FD0-E3F8-BC1C-097E-9AED1B85C173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5" t="25"/>
          <a:stretch/>
        </p:blipFill>
        <p:spPr>
          <a:xfrm>
            <a:off x="5008070" y="2818277"/>
            <a:ext cx="1509851" cy="154137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FFA08E-40BE-CB6F-29A3-1B52F886EBFD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r>
              <a:rPr lang="en-US"/>
              <a:t>Layou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78256B-B963-85FF-C3EC-5DD641035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ni IV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03F844-C426-7790-6B11-D44D4BEB3971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dirty="0"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C8AB8B-5BDD-ABF8-0A08-CA041B4C0142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5" name="Immagine 91">
            <a:extLst>
              <a:ext uri="{FF2B5EF4-FFF2-40B4-BE49-F238E27FC236}">
                <a16:creationId xmlns:a16="http://schemas.microsoft.com/office/drawing/2014/main" id="{0B2E33C3-7C9F-53B3-5FF8-B875168B5158}"/>
              </a:ext>
            </a:extLst>
          </p:cNvPr>
          <p:cNvPicPr>
            <a:picLocks noChangeAspect="1"/>
          </p:cNvPicPr>
          <p:nvPr/>
        </p:nvPicPr>
        <p:blipFill>
          <a:blip cstate="email"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b="96104" l="2817" r="89789" t="7792">
                        <a14:foregroundMark x1="8803" x2="8803" y1="48052" y2="48052"/>
                        <a14:foregroundMark x1="8099" x2="8099" y1="62987" y2="62987"/>
                        <a14:foregroundMark x1="5986" x2="5986" y1="76623" y2="76623"/>
                        <a14:foregroundMark x1="3873" x2="3873" y1="78571" y2="78571"/>
                        <a14:foregroundMark x1="52817" x2="52817" y1="82468" y2="82468"/>
                        <a14:foregroundMark x1="54225" x2="54225" y1="90260" y2="90260"/>
                        <a14:foregroundMark x1="55634" x2="55634" y1="92208" y2="92208"/>
                        <a14:foregroundMark x1="57394" x2="57394" y1="92857" y2="92857"/>
                        <a14:foregroundMark x1="64437" x2="14437" y1="96104" y2="92857"/>
                        <a14:foregroundMark x1="15845" x2="72183" y1="94156" y2="96753"/>
                        <a14:foregroundMark x1="49648" x2="48239" y1="7792" y2="27922"/>
                        <a14:backgroundMark x1="28873" x2="28873" y1="11688" y2="1168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7850" y="1388430"/>
            <a:ext cx="926468" cy="502380"/>
          </a:xfrm>
          <a:prstGeom prst="rect">
            <a:avLst/>
          </a:prstGeom>
        </p:spPr>
      </p:pic>
      <p:pic>
        <p:nvPicPr>
          <p:cNvPr id="46" name="Immagine 78">
            <a:extLst>
              <a:ext uri="{FF2B5EF4-FFF2-40B4-BE49-F238E27FC236}">
                <a16:creationId xmlns:a16="http://schemas.microsoft.com/office/drawing/2014/main" id="{5BB93A73-BD29-3BA8-1B2F-588C02A9452B}"/>
              </a:ext>
            </a:extLst>
          </p:cNvPr>
          <p:cNvPicPr>
            <a:picLocks noChangeAspect="1"/>
          </p:cNvPicPr>
          <p:nvPr/>
        </p:nvPicPr>
        <p:blipFill>
          <a:blip cstate="email"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b="98558" l="6061" r="93266" t="7212">
                        <a14:foregroundMark x1="20202" x2="68350" y1="87019" y2="86058"/>
                        <a14:foregroundMark x1="66667" x2="27609" y1="81250" y2="99519"/>
                        <a14:foregroundMark x1="16498" x2="78114" y1="89904" y2="82692"/>
                        <a14:foregroundMark x1="78114" x2="87879" y1="82692" y2="99519"/>
                        <a14:foregroundMark x1="93266" x2="93266" y1="85096" y2="85096"/>
                        <a14:foregroundMark x1="6061" x2="6061" y1="86058" y2="86058"/>
                        <a14:foregroundMark x1="49495" x2="49495" y1="11058" y2="11058"/>
                        <a14:foregroundMark x1="68687" x2="68687" y1="8173" y2="8173"/>
                        <a14:foregroundMark x1="32660" x2="32660" y1="7212" y2="721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9504" y="4380940"/>
            <a:ext cx="932460" cy="653036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0274B8B1-F20E-D8F8-C04A-45EC27ECF3C0}"/>
              </a:ext>
            </a:extLst>
          </p:cNvPr>
          <p:cNvSpPr txBox="1"/>
          <p:nvPr/>
        </p:nvSpPr>
        <p:spPr>
          <a:xfrm>
            <a:off x="4729711" y="4128814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latin charset="0" panose="02000000000000000000" pitchFamily="2" typeface="Roboto Bold"/>
              </a:rPr>
              <a:t>Body VHS011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8A1E605-EDF6-9F84-99FB-1B5691EAC8E0}"/>
              </a:ext>
            </a:extLst>
          </p:cNvPr>
          <p:cNvSpPr txBox="1"/>
          <p:nvPr/>
        </p:nvSpPr>
        <p:spPr>
          <a:xfrm>
            <a:off x="7157766" y="1904858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accent3"/>
                </a:solidFill>
                <a:latin charset="0" panose="02000000000000000000" pitchFamily="2" typeface="Roboto Bold"/>
              </a:rPr>
              <a:t>IP44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79B0BA6-B004-5CFF-DD0D-8ABC70B37987}"/>
              </a:ext>
            </a:extLst>
          </p:cNvPr>
          <p:cNvSpPr txBox="1"/>
          <p:nvPr/>
        </p:nvSpPr>
        <p:spPr>
          <a:xfrm>
            <a:off x="7102416" y="5033976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accent6"/>
                </a:solidFill>
                <a:latin charset="0" panose="02000000000000000000" pitchFamily="2" typeface="Roboto Bold"/>
              </a:rPr>
              <a:t>IP65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063922F-B053-1AB7-7516-517ABE2F1BCD}"/>
              </a:ext>
            </a:extLst>
          </p:cNvPr>
          <p:cNvCxnSpPr>
            <a:cxnSpLocks/>
          </p:cNvCxnSpPr>
          <p:nvPr/>
        </p:nvCxnSpPr>
        <p:spPr>
          <a:xfrm>
            <a:off x="6486846" y="3255897"/>
            <a:ext cx="3095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5858CA1D-58F5-AA14-7DEE-3FE9D92818B4}"/>
              </a:ext>
            </a:extLst>
          </p:cNvPr>
          <p:cNvCxnSpPr>
            <a:cxnSpLocks/>
            <a:endCxn id="45" idx="1"/>
          </p:cNvCxnSpPr>
          <p:nvPr/>
        </p:nvCxnSpPr>
        <p:spPr>
          <a:xfrm flipH="1" flipV="1" rot="5400000">
            <a:off x="6449804" y="1986163"/>
            <a:ext cx="1624589" cy="931504"/>
          </a:xfrm>
          <a:prstGeom prst="bentConnector2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0952FD70-093F-7DE7-8F3D-6C285743EFA0}"/>
              </a:ext>
            </a:extLst>
          </p:cNvPr>
          <p:cNvCxnSpPr>
            <a:cxnSpLocks/>
            <a:endCxn id="46" idx="1"/>
          </p:cNvCxnSpPr>
          <p:nvPr/>
        </p:nvCxnSpPr>
        <p:spPr>
          <a:xfrm flipH="1" rot="16200000">
            <a:off x="6507147" y="3545100"/>
            <a:ext cx="1451559" cy="873156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4CE646D7-6D52-0F54-07A2-FA981D00BB59}"/>
              </a:ext>
            </a:extLst>
          </p:cNvPr>
          <p:cNvSpPr txBox="1"/>
          <p:nvPr/>
        </p:nvSpPr>
        <p:spPr>
          <a:xfrm>
            <a:off x="9580786" y="2517811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latin charset="0" panose="02000000000000000000" pitchFamily="2" typeface="Roboto Bold"/>
              </a:rPr>
              <a:t>VHS011 LC ACD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33103CE-7D77-D6F6-2354-81E354F508E6}"/>
              </a:ext>
            </a:extLst>
          </p:cNvPr>
          <p:cNvSpPr txBox="1"/>
          <p:nvPr/>
        </p:nvSpPr>
        <p:spPr>
          <a:xfrm>
            <a:off x="9580786" y="5596335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400">
                <a:latin charset="0" panose="02000000000000000000" pitchFamily="2" typeface="Roboto Bold"/>
              </a:rPr>
              <a:t>VHS011 LC Z22 EXA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98DABB7-219F-F492-4FD7-A5C9F62ADA1C}"/>
              </a:ext>
            </a:extLst>
          </p:cNvPr>
          <p:cNvCxnSpPr>
            <a:cxnSpLocks/>
          </p:cNvCxnSpPr>
          <p:nvPr/>
        </p:nvCxnSpPr>
        <p:spPr>
          <a:xfrm>
            <a:off x="8654318" y="1639620"/>
            <a:ext cx="140785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A338CED-823B-D9D9-70DF-71D62960022F}"/>
              </a:ext>
            </a:extLst>
          </p:cNvPr>
          <p:cNvCxnSpPr>
            <a:cxnSpLocks/>
          </p:cNvCxnSpPr>
          <p:nvPr/>
        </p:nvCxnSpPr>
        <p:spPr>
          <a:xfrm>
            <a:off x="8654318" y="4707458"/>
            <a:ext cx="140785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98A7D0E-9D7C-D45C-CC33-CAC26E302862}"/>
              </a:ext>
            </a:extLst>
          </p:cNvPr>
          <p:cNvSpPr txBox="1"/>
          <p:nvPr/>
        </p:nvSpPr>
        <p:spPr>
          <a:xfrm>
            <a:off x="480154" y="1949335"/>
            <a:ext cx="4083537" cy="2054665"/>
          </a:xfrm>
          <a:prstGeom prst="rect">
            <a:avLst/>
          </a:prstGeom>
          <a:noFill/>
        </p:spPr>
        <p:txBody>
          <a:bodyPr bIns="0" lIns="0" rIns="0" tIns="0" wrap="square">
            <a:spAutoFit/>
          </a:bodyPr>
          <a:lstStyle/>
          <a:p>
            <a:pPr marL="0">
              <a:lnSpc>
                <a:spcPct val="120000"/>
              </a:lnSpc>
              <a:spcAft>
                <a:spcPts val="1200"/>
              </a:spcAft>
              <a:buFont charset="0" panose="020B0604020202020204" pitchFamily="34" typeface="Arial"/>
              <a:buNone/>
            </a:pPr>
            <a:r>
              <a:rPr lang="en-GB" sz="3400">
                <a:latin typeface="+mj-lt"/>
              </a:rPr>
              <a:t>Pull&amp;Clean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2 models available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Container 15 L with removable whee-lbase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Optional Upstream HEPA14 filter (US included)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Suitable for combustible dust and ATEX</a:t>
            </a:r>
          </a:p>
          <a:p>
            <a:pPr indent="-171450" marL="171450">
              <a:lnSpc>
                <a:spcPct val="120000"/>
              </a:lnSpc>
              <a:buFont charset="0" panose="020B0604020202020204" pitchFamily="34" typeface="Arial"/>
              <a:buChar char="•"/>
            </a:pPr>
            <a:r>
              <a:rPr lang="en-US" sz="1400"/>
              <a:t>Suitable for hazardous dust L</a:t>
            </a:r>
          </a:p>
        </p:txBody>
      </p:sp>
      <p:pic>
        <p:nvPicPr>
          <p:cNvPr id="11" name="Picture 34">
            <a:extLst>
              <a:ext uri="{FF2B5EF4-FFF2-40B4-BE49-F238E27FC236}">
                <a16:creationId xmlns:a16="http://schemas.microsoft.com/office/drawing/2014/main" id="{CE88714C-9262-D6F7-9DF1-8AB487177395}"/>
              </a:ext>
            </a:extLst>
          </p:cNvPr>
          <p:cNvPicPr>
            <a:picLocks noChangeAspect="1"/>
          </p:cNvPicPr>
          <p:nvPr/>
        </p:nvPicPr>
        <p:blipFill>
          <a:blip cstate="email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7931" y="927191"/>
            <a:ext cx="952721" cy="33524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2" name="Immagine 66">
            <a:extLst>
              <a:ext uri="{FF2B5EF4-FFF2-40B4-BE49-F238E27FC236}">
                <a16:creationId xmlns:a16="http://schemas.microsoft.com/office/drawing/2014/main" id="{A93AE23A-68C2-CE62-3C31-F509E9EF7C06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6991" t="-16269"/>
          <a:stretch/>
        </p:blipFill>
        <p:spPr>
          <a:xfrm>
            <a:off x="9349578" y="3818581"/>
            <a:ext cx="565131" cy="653035"/>
          </a:xfrm>
          <a:prstGeom prst="rect">
            <a:avLst/>
          </a:prstGeom>
        </p:spPr>
      </p:pic>
      <p:pic>
        <p:nvPicPr>
          <p:cNvPr id="7" name="Immagine 15">
            <a:extLst>
              <a:ext uri="{FF2B5EF4-FFF2-40B4-BE49-F238E27FC236}">
                <a16:creationId xmlns:a16="http://schemas.microsoft.com/office/drawing/2014/main" id="{EACCEB56-9A5E-7E3E-35B7-9AF63DD84A7E}"/>
              </a:ext>
            </a:extLst>
          </p:cNvPr>
          <p:cNvPicPr>
            <a:picLocks noChangeAspect="1"/>
          </p:cNvPicPr>
          <p:nvPr/>
        </p:nvPicPr>
        <p:blipFill>
          <a:blip cstate="print"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19975" y="503574"/>
            <a:ext cx="1408527" cy="2209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14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07D39F2-76E8-5B94-C5BE-A83A41D60E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BB4253-8397-D591-B5B7-7758254B90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rimary application and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B66796-507D-CA21-3BFF-3B03135CCE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F4ECB-D350-93C4-084E-0C834EA18F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72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BBCFC5B-D7E8-D9EA-2E37-64817C79D9C9}"/>
              </a:ext>
            </a:extLst>
          </p:cNvPr>
          <p:cNvSpPr>
            <a:spLocks noGrp="1"/>
          </p:cNvSpPr>
          <p:nvPr>
            <p:ph idx="23" sz="quarter"/>
          </p:nvPr>
        </p:nvSpPr>
        <p:spPr>
          <a:xfrm>
            <a:off x="3361796" y="1434164"/>
            <a:ext cx="2586038" cy="4603109"/>
          </a:xfrm>
        </p:spPr>
        <p:txBody>
          <a:bodyPr lIns="108000" rIns="108000" tIns="2194560"/>
          <a:lstStyle/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Typical cleaning job: 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Collection and cleaning metal 3D printers, glove box, finished parts, emptying bins…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endParaRPr lang="en-US" sz="1000"/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endParaRPr lang="en-US" sz="1000"/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Key features: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Certified for conductive combustible dust, safe with IP65 enclosure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Safe bag system disposal and H CLASS certified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6579999-FD25-9378-B44C-77E9C7BDA49D}"/>
              </a:ext>
            </a:extLst>
          </p:cNvPr>
          <p:cNvSpPr>
            <a:spLocks noGrp="1"/>
          </p:cNvSpPr>
          <p:nvPr>
            <p:ph idx="27" sz="quarter"/>
          </p:nvPr>
        </p:nvSpPr>
        <p:spPr>
          <a:xfrm>
            <a:off x="9126537" y="1434164"/>
            <a:ext cx="2586038" cy="4603109"/>
          </a:xfrm>
        </p:spPr>
        <p:txBody>
          <a:bodyPr lIns="108000" rIns="108000" tIns="2194560"/>
          <a:lstStyle/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Typical cleaning job: 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Collection of dust and wood chips from automatic machines and equipment 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Cleaning of floors, desks, surfaces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endParaRPr lang="en-US" sz="1000"/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Key features: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Suitable for hazardous and combustible dusts, as ex painted wood dust or very fine dust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24B920A-F5ED-2F19-FAEA-E8A2BEEF8708}"/>
              </a:ext>
            </a:extLst>
          </p:cNvPr>
          <p:cNvSpPr>
            <a:spLocks noGrp="1"/>
          </p:cNvSpPr>
          <p:nvPr>
            <p:ph idx="18" sz="quarter"/>
          </p:nvPr>
        </p:nvSpPr>
        <p:spPr>
          <a:xfrm>
            <a:off x="479425" y="1434164"/>
            <a:ext cx="2586038" cy="4603109"/>
          </a:xfrm>
        </p:spPr>
        <p:txBody>
          <a:bodyPr lIns="108000" rIns="108000" tIns="2194560"/>
          <a:lstStyle/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Typical cleaning </a:t>
            </a: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job: </a:t>
            </a:r>
            <a:endParaRPr dirty="0" lang="en-US" sz="1000">
              <a:latin charset="0" panose="02000000000000000000" pitchFamily="2" typeface="Roboto Bold"/>
              <a:ea charset="0" panose="02000000000000000000" pitchFamily="2" typeface="Roboto Bold"/>
            </a:endParaRP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dirty="0" lang="en-US" sz="1000"/>
              <a:t>Cleaning packaging machine or process equipment as conveyor belts, mixer, mill etc.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dirty="0" lang="en-US" sz="1000"/>
              <a:t>Cleaning of floors, desks</a:t>
            </a:r>
            <a:r>
              <a:rPr lang="en-US" sz="1000"/>
              <a:t>, surfaces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endParaRPr lang="en-US" sz="1000"/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Key features: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For Z22 Atex zones and for combustible dusts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Long life filter and no consumables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Washable container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Food colored accessori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1B4971-9BF9-39AB-FFEE-69FFBC5C4A01}"/>
              </a:ext>
            </a:extLst>
          </p:cNvPr>
          <p:cNvSpPr>
            <a:spLocks noGrp="1"/>
          </p:cNvSpPr>
          <p:nvPr>
            <p:ph idx="13" sz="quarter" type="body"/>
          </p:nvPr>
        </p:nvSpPr>
        <p:spPr>
          <a:xfrm>
            <a:off x="479425" y="2910539"/>
            <a:ext cx="2586038" cy="775354"/>
          </a:xfrm>
        </p:spPr>
        <p:txBody>
          <a:bodyPr lIns="180000" rIns="180000" tIns="108000"/>
          <a:lstStyle/>
          <a:p>
            <a:r>
              <a:rPr dirty="0" lang="it-IT" sz="1600"/>
              <a:t>Food Industry</a:t>
            </a:r>
            <a:endParaRPr dirty="0" lang="en-US" sz="1500"/>
          </a:p>
          <a:p>
            <a:r>
              <a:rPr b="0" dirty="0" i="1" lang="en-US" sz="1100">
                <a:solidFill>
                  <a:schemeClr val="tx2"/>
                </a:solidFill>
                <a:latin typeface="+mn-lt"/>
              </a:rPr>
              <a:t>Primary and secondary packaging 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0543E58-8E9B-0041-0C7C-855A05BE5A2D}"/>
              </a:ext>
            </a:extLst>
          </p:cNvPr>
          <p:cNvSpPr>
            <a:spLocks noGrp="1"/>
          </p:cNvSpPr>
          <p:nvPr>
            <p:ph idx="25" sz="quarter"/>
          </p:nvPr>
        </p:nvSpPr>
        <p:spPr>
          <a:xfrm>
            <a:off x="6244167" y="1434164"/>
            <a:ext cx="2586038" cy="4603109"/>
          </a:xfrm>
        </p:spPr>
        <p:txBody>
          <a:bodyPr lIns="108000" rIns="108000" tIns="2194560"/>
          <a:lstStyle/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Typical cleaning job: 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Cleaning pharmaceutical process machines  or process equipment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Cleaning of floors, desks, surfaces in production area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endParaRPr lang="en-US" sz="1000"/>
          </a:p>
          <a:p>
            <a:pPr indent="-177800" marL="177800">
              <a:lnSpc>
                <a:spcPct val="120000"/>
              </a:lnSpc>
              <a:spcBef>
                <a:spcPts val="0"/>
              </a:spcBef>
            </a:pPr>
            <a:r>
              <a:rPr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Key features: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Fully Stainless-steel body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HEPA14 filtration </a:t>
            </a:r>
          </a:p>
          <a:p>
            <a:pPr indent="-177800" lvl="1" marL="355600">
              <a:lnSpc>
                <a:spcPct val="120000"/>
              </a:lnSpc>
              <a:spcBef>
                <a:spcPts val="0"/>
              </a:spcBef>
            </a:pPr>
            <a:r>
              <a:rPr lang="en-US" sz="1000"/>
              <a:t>Not contaminating working environ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23597-D01F-EE17-9E73-408368DF130C}"/>
              </a:ext>
            </a:extLst>
          </p:cNvPr>
          <p:cNvSpPr>
            <a:spLocks noGrp="1"/>
          </p:cNvSpPr>
          <p:nvPr>
            <p:ph idx="30" sz="quarter" type="ftr"/>
          </p:nvPr>
        </p:nvSpPr>
        <p:spPr/>
        <p:txBody>
          <a:bodyPr/>
          <a:lstStyle/>
          <a:p>
            <a:pPr algn="l"/>
            <a:r>
              <a:rPr dirty="0"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65ECBA-F317-A48D-27DF-51F07A786FE0}"/>
              </a:ext>
            </a:extLst>
          </p:cNvPr>
          <p:cNvSpPr>
            <a:spLocks noGrp="1"/>
          </p:cNvSpPr>
          <p:nvPr>
            <p:ph idx="31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A066F9-EA08-E0E1-591B-AC4340376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4294706" cy="388013"/>
          </a:xfrm>
        </p:spPr>
        <p:txBody>
          <a:bodyPr/>
          <a:lstStyle/>
          <a:p>
            <a:r>
              <a:rPr lang="en-US"/>
              <a:t>Key features and benefit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41F32CA-5A8C-2F73-2267-DFBC1EEE80F4}"/>
              </a:ext>
            </a:extLst>
          </p:cNvPr>
          <p:cNvSpPr txBox="1">
            <a:spLocks/>
          </p:cNvSpPr>
          <p:nvPr/>
        </p:nvSpPr>
        <p:spPr>
          <a:xfrm>
            <a:off x="3361795" y="2910539"/>
            <a:ext cx="2586038" cy="775354"/>
          </a:xfrm>
          <a:prstGeom prst="rect">
            <a:avLst/>
          </a:prstGeom>
          <a:noFill/>
        </p:spPr>
        <p:txBody>
          <a:bodyPr anchor="t" bIns="0" lIns="180000" rIns="180000" rtlCol="0" tIns="108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14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b="1"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 sz="1600"/>
              <a:t>AM industry*</a:t>
            </a:r>
          </a:p>
          <a:p>
            <a:r>
              <a:rPr b="0" dirty="0" i="1" lang="en-US" sz="1100">
                <a:solidFill>
                  <a:schemeClr val="tx2"/>
                </a:solidFill>
                <a:latin typeface="+mn-lt"/>
              </a:rPr>
              <a:t>Production line, part of the proces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B21AF14-D13F-ABAF-3A24-A1594E719EBF}"/>
              </a:ext>
            </a:extLst>
          </p:cNvPr>
          <p:cNvSpPr txBox="1">
            <a:spLocks/>
          </p:cNvSpPr>
          <p:nvPr/>
        </p:nvSpPr>
        <p:spPr>
          <a:xfrm>
            <a:off x="6240259" y="2910539"/>
            <a:ext cx="2586038" cy="775354"/>
          </a:xfrm>
          <a:prstGeom prst="rect">
            <a:avLst/>
          </a:prstGeom>
          <a:noFill/>
        </p:spPr>
        <p:txBody>
          <a:bodyPr anchor="t" bIns="0" lIns="180000" rIns="180000" rtlCol="0" tIns="108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14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b="1"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 sz="1500"/>
              <a:t>Pharma industry</a:t>
            </a:r>
          </a:p>
          <a:p>
            <a:r>
              <a:rPr b="0" dirty="0" i="1" lang="en-US" sz="1100">
                <a:solidFill>
                  <a:schemeClr val="tx2"/>
                </a:solidFill>
                <a:latin typeface="+mn-lt"/>
              </a:rPr>
              <a:t>Primary and secondary packaging 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96681025-9403-407C-EEE5-3A4E471BBBDB}"/>
              </a:ext>
            </a:extLst>
          </p:cNvPr>
          <p:cNvSpPr txBox="1">
            <a:spLocks/>
          </p:cNvSpPr>
          <p:nvPr/>
        </p:nvSpPr>
        <p:spPr>
          <a:xfrm>
            <a:off x="9126537" y="2910539"/>
            <a:ext cx="2586038" cy="775354"/>
          </a:xfrm>
          <a:prstGeom prst="rect">
            <a:avLst/>
          </a:prstGeom>
          <a:noFill/>
        </p:spPr>
        <p:txBody>
          <a:bodyPr anchor="t" bIns="0" lIns="180000" rIns="180000" rtlCol="0" tIns="108000" vert="horz">
            <a:noAutofit/>
          </a:bodyPr>
          <a:lstStyle>
            <a:lvl1pPr algn="l" defTabSz="1023967" eaLnBrk="1" hangingPunct="1" indent="0" latinLnBrk="0" marL="0" rtl="0">
              <a:spcBef>
                <a:spcPct val="20000"/>
              </a:spcBef>
              <a:buFont charset="0" panose="020B0604020202020204" pitchFamily="34" typeface="Arial"/>
              <a:buNone/>
              <a:defRPr b="1" kern="1200" sz="14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b="1"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b="1"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lang="en-US" sz="1600"/>
              <a:t>Generic manufacturing </a:t>
            </a:r>
          </a:p>
          <a:p>
            <a:r>
              <a:rPr b="0" i="1" lang="en-US" sz="1100">
                <a:solidFill>
                  <a:schemeClr val="tx2"/>
                </a:solidFill>
                <a:latin typeface="+mn-lt"/>
              </a:rPr>
              <a:t>Textile, Wood</a:t>
            </a:r>
            <a:r>
              <a:rPr b="0" dirty="0" i="1" lang="en-US" sz="1100">
                <a:solidFill>
                  <a:schemeClr val="tx2"/>
                </a:solidFill>
                <a:latin typeface="+mn-lt"/>
              </a:rPr>
              <a:t>, Painting, furniture </a:t>
            </a:r>
            <a:endParaRPr dirty="0" lang="en-US" sz="1200"/>
          </a:p>
        </p:txBody>
      </p:sp>
      <p:pic>
        <p:nvPicPr>
          <p:cNvPr descr="Immagine che contiene vestiti, macchina, ingegneria, interno&#10;&#10;Descrizione generata automaticamente" id="2" name="Immagine 1">
            <a:extLst>
              <a:ext uri="{FF2B5EF4-FFF2-40B4-BE49-F238E27FC236}">
                <a16:creationId xmlns:a16="http://schemas.microsoft.com/office/drawing/2014/main" id="{A199CFE7-C3D5-EC52-8BA5-88ECC0ED1AE7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57" t="406"/>
          <a:stretch/>
        </p:blipFill>
        <p:spPr>
          <a:xfrm>
            <a:off x="479329" y="1431925"/>
            <a:ext cx="2586134" cy="1475874"/>
          </a:xfrm>
          <a:prstGeom prst="rect">
            <a:avLst/>
          </a:prstGeom>
        </p:spPr>
      </p:pic>
      <p:pic>
        <p:nvPicPr>
          <p:cNvPr descr="Immagine che contiene interno, muro, persona, vestiti&#10;&#10;Descrizione generata automaticamente" id="3" name="Immagine 2">
            <a:extLst>
              <a:ext uri="{FF2B5EF4-FFF2-40B4-BE49-F238E27FC236}">
                <a16:creationId xmlns:a16="http://schemas.microsoft.com/office/drawing/2014/main" id="{7FCC14F2-EF28-4A9C-5332-4BFAA6FB5636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9" t="59"/>
          <a:stretch/>
        </p:blipFill>
        <p:spPr>
          <a:xfrm>
            <a:off x="3361699" y="1431925"/>
            <a:ext cx="2586038" cy="1475874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A476A8A4-651E-5E8E-D4A5-BDDCF12DD073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93" t="531"/>
          <a:stretch/>
        </p:blipFill>
        <p:spPr>
          <a:xfrm>
            <a:off x="6243973" y="1431925"/>
            <a:ext cx="2582324" cy="1475874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ADD6A4F9-DECC-815F-B99B-85A8CAEDEF74}"/>
              </a:ext>
            </a:extLst>
          </p:cNvPr>
          <p:cNvPicPr>
            <a:picLocks noChangeAspect="1"/>
          </p:cNvPicPr>
          <p:nvPr/>
        </p:nvPicPr>
        <p:blipFill rotWithShape="1">
          <a:blip cstate="email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96" t="368"/>
          <a:stretch/>
        </p:blipFill>
        <p:spPr>
          <a:xfrm>
            <a:off x="9126537" y="1431925"/>
            <a:ext cx="2595749" cy="1475874"/>
          </a:xfrm>
          <a:prstGeom prst="rect">
            <a:avLst/>
          </a:prstGeom>
        </p:spPr>
      </p:pic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8A34AA69-3ED0-7B7C-3DA4-91CF6B40D0B6}"/>
              </a:ext>
            </a:extLst>
          </p:cNvPr>
          <p:cNvSpPr txBox="1"/>
          <p:nvPr/>
        </p:nvSpPr>
        <p:spPr>
          <a:xfrm>
            <a:off x="3242510" y="6039512"/>
            <a:ext cx="174457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dirty="0" lang="en-US" sz="1000">
                <a:latin charset="0" panose="02000000000000000000" pitchFamily="2" typeface="Roboto Bold"/>
                <a:ea charset="0" panose="02000000000000000000" pitchFamily="2" typeface="Roboto Bold"/>
              </a:rPr>
              <a:t>* Not for north America</a:t>
            </a:r>
            <a:endParaRPr dirty="0" lang="it-IT"/>
          </a:p>
        </p:txBody>
      </p:sp>
    </p:spTree>
    <p:extLst>
      <p:ext uri="{BB962C8B-B14F-4D97-AF65-F5344CB8AC3E}">
        <p14:creationId xmlns:p14="http://schemas.microsoft.com/office/powerpoint/2010/main" val="184424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90E30D1931D74AA31AAF46CFE106EB" ma:contentTypeVersion="12" ma:contentTypeDescription="Create a new document." ma:contentTypeScope="" ma:versionID="b79afbd18b75f370f452cc30941d5b59">
  <xsd:schema xmlns:xsd="http://www.w3.org/2001/XMLSchema" xmlns:xs="http://www.w3.org/2001/XMLSchema" xmlns:p="http://schemas.microsoft.com/office/2006/metadata/properties" xmlns:ns1="http://schemas.microsoft.com/sharepoint/v3" xmlns:ns2="354dde04-e399-458e-afd2-5780735c498f" xmlns:ns3="b38e86ad-ecae-4d8b-a6a2-599c57c8c9ab" targetNamespace="http://schemas.microsoft.com/office/2006/metadata/properties" ma:root="true" ma:fieldsID="0bee1d93ba4506912d08c8c1f7363610" ns1:_="" ns2:_="" ns3:_="">
    <xsd:import namespace="http://schemas.microsoft.com/sharepoint/v3"/>
    <xsd:import namespace="354dde04-e399-458e-afd2-5780735c498f"/>
    <xsd:import namespace="b38e86ad-ecae-4d8b-a6a2-599c57c8c9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dde04-e399-458e-afd2-5780735c4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8e86ad-ecae-4d8b-a6a2-599c57c8c9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354dde04-e399-458e-afd2-5780735c498f"/>
    <ds:schemaRef ds:uri="http://purl.org/dc/elements/1.1/"/>
    <ds:schemaRef ds:uri="http://schemas.microsoft.com/office/2006/metadata/properties"/>
    <ds:schemaRef ds:uri="b38e86ad-ecae-4d8b-a6a2-599c57c8c9ab"/>
    <ds:schemaRef ds:uri="http://schemas.microsoft.com/sharepoint/v3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933518B-43B2-4E22-9BD4-31F5AEA376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54dde04-e399-458e-afd2-5780735c498f"/>
    <ds:schemaRef ds:uri="b38e86ad-ecae-4d8b-a6a2-599c57c8c9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2663</TotalTime>
  <Words>3877</Words>
  <Application>Microsoft Office PowerPoint</Application>
  <PresentationFormat>Widescreen</PresentationFormat>
  <Paragraphs>1072</Paragraphs>
  <Slides>3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5" baseType="lpstr">
      <vt:lpstr>Adobe Clean DC</vt:lpstr>
      <vt:lpstr>Arial</vt:lpstr>
      <vt:lpstr>Calibri</vt:lpstr>
      <vt:lpstr>Courier New</vt:lpstr>
      <vt:lpstr>Roboto</vt:lpstr>
      <vt:lpstr>Roboto Black</vt:lpstr>
      <vt:lpstr>Roboto Bold</vt:lpstr>
      <vt:lpstr>Roboto Light</vt:lpstr>
      <vt:lpstr>Roboto regular</vt:lpstr>
      <vt:lpstr>Segoe MDL2 Assets</vt:lpstr>
      <vt:lpstr>Wingdings</vt:lpstr>
      <vt:lpstr>Nilfisk Toolbox_Standard_4-3</vt:lpstr>
      <vt:lpstr>Diapositiva think-cell</vt:lpstr>
      <vt:lpstr>VHS010-VHS011 The mini industrial vacuums range</vt:lpstr>
      <vt:lpstr>Agenda</vt:lpstr>
      <vt:lpstr>1</vt:lpstr>
      <vt:lpstr>Introducing the mini industrial vacuums</vt:lpstr>
      <vt:lpstr>Mini IVS</vt:lpstr>
      <vt:lpstr>Mini IVS</vt:lpstr>
      <vt:lpstr>Mini IVS</vt:lpstr>
      <vt:lpstr>2</vt:lpstr>
      <vt:lpstr>Key features and benefits</vt:lpstr>
      <vt:lpstr>Food industry application focus</vt:lpstr>
      <vt:lpstr>3</vt:lpstr>
      <vt:lpstr>Key features and design</vt:lpstr>
      <vt:lpstr>Key features and design</vt:lpstr>
      <vt:lpstr>Key features and design ACD models</vt:lpstr>
      <vt:lpstr>Key features and benefits</vt:lpstr>
      <vt:lpstr>PullClean</vt:lpstr>
      <vt:lpstr>Safe bag system</vt:lpstr>
      <vt:lpstr>4</vt:lpstr>
      <vt:lpstr>Accessory holder</vt:lpstr>
      <vt:lpstr>Mini IVS Z22 </vt:lpstr>
      <vt:lpstr>Mini IVS ACD and CIID2 </vt:lpstr>
      <vt:lpstr>Mini IVS machine and accessories – suggested choice I</vt:lpstr>
      <vt:lpstr>Mini IVS machine and accessories – suggested choice II</vt:lpstr>
      <vt:lpstr>Spare filters for VH011...</vt:lpstr>
      <vt:lpstr>Spare filters and bags filters for VHS010...</vt:lpstr>
      <vt:lpstr>5</vt:lpstr>
      <vt:lpstr>Mini IVS technical data CE 230V</vt:lpstr>
      <vt:lpstr>Mini IVS technical data UL 120V</vt:lpstr>
      <vt:lpstr>Mini IVS technical data UK 110V</vt:lpstr>
      <vt:lpstr>6</vt:lpstr>
      <vt:lpstr>Naming and product hierarchy</vt:lpstr>
      <vt:lpstr>PNs and versions available at launch d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ri Vu</dc:creator>
  <cp:lastModifiedBy>Tine Maribo</cp:lastModifiedBy>
  <cp:revision>515</cp:revision>
  <dcterms:created xsi:type="dcterms:W3CDTF">2024-03-29T01:43:38Z</dcterms:created>
  <dcterms:modified xsi:type="dcterms:W3CDTF">2024-04-05T08:0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ntentTypeId" pid="2">
    <vt:lpwstr>0x0101000D90E30D1931D74AA31AAF46CFE106EB</vt:lpwstr>
  </property>
  <property fmtid="{D5CDD505-2E9C-101B-9397-08002B2CF9AE}" name="MSIP_Label_8af657d4-2045-4871-9872-e323e3545d60_ActionId" pid="3">
    <vt:lpwstr>dc55aacb-2282-478e-992e-416176343d0e</vt:lpwstr>
  </property>
  <property fmtid="{D5CDD505-2E9C-101B-9397-08002B2CF9AE}" name="MSIP_Label_8af657d4-2045-4871-9872-e323e3545d60_ContentBits" pid="4">
    <vt:lpwstr>0</vt:lpwstr>
  </property>
  <property fmtid="{D5CDD505-2E9C-101B-9397-08002B2CF9AE}" name="MSIP_Label_8af657d4-2045-4871-9872-e323e3545d60_Enabled" pid="5">
    <vt:lpwstr>true</vt:lpwstr>
  </property>
  <property fmtid="{D5CDD505-2E9C-101B-9397-08002B2CF9AE}" name="MSIP_Label_8af657d4-2045-4871-9872-e323e3545d60_Method" pid="6">
    <vt:lpwstr>Privileged</vt:lpwstr>
  </property>
  <property fmtid="{D5CDD505-2E9C-101B-9397-08002B2CF9AE}" name="MSIP_Label_8af657d4-2045-4871-9872-e323e3545d60_Name" pid="7">
    <vt:lpwstr>Open sublabel</vt:lpwstr>
  </property>
  <property fmtid="{D5CDD505-2E9C-101B-9397-08002B2CF9AE}" name="MSIP_Label_8af657d4-2045-4871-9872-e323e3545d60_SetDate" pid="8">
    <vt:lpwstr>2022-03-07T09:52:37Z</vt:lpwstr>
  </property>
  <property fmtid="{D5CDD505-2E9C-101B-9397-08002B2CF9AE}" name="MSIP_Label_8af657d4-2045-4871-9872-e323e3545d60_SiteId" pid="9">
    <vt:lpwstr>753c5d99-05be-4237-b4c5-fdb2e6b32ab2</vt:lpwstr>
  </property>
  <property fmtid="{D5CDD505-2E9C-101B-9397-08002B2CF9AE}" name="NXPowerLiteLastOptimized" pid="10">
    <vt:lpwstr>10284927</vt:lpwstr>
  </property>
  <property fmtid="{D5CDD505-2E9C-101B-9397-08002B2CF9AE}" name="NXPowerLiteSettings" pid="11">
    <vt:lpwstr>F7000400038000</vt:lpwstr>
  </property>
  <property fmtid="{D5CDD505-2E9C-101B-9397-08002B2CF9AE}" name="NXPowerLiteVersion" pid="12">
    <vt:lpwstr>S10.2.0</vt:lpwstr>
  </property>
</Properties>
</file>